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687" r:id="rId6"/>
  </p:sldMasterIdLst>
  <p:notesMasterIdLst>
    <p:notesMasterId r:id="rId13"/>
  </p:notesMasterIdLst>
  <p:sldIdLst>
    <p:sldId id="306" r:id="rId7"/>
    <p:sldId id="273" r:id="rId8"/>
    <p:sldId id="256" r:id="rId9"/>
    <p:sldId id="307" r:id="rId10"/>
    <p:sldId id="308" r:id="rId11"/>
    <p:sldId id="305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BCFE0E8-745D-4A75-87B8-F1CA71ECAD6B}" v="1443" dt="2024-04-03T17:40:24.60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23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dezda Solodjankina (ETF)" userId="aff63d91-b2e7-4aaf-9296-8e2378eca05d" providerId="ADAL" clId="{2BCFE0E8-745D-4A75-87B8-F1CA71ECAD6B}"/>
    <pc:docChg chg="undo redo custSel addSld delSld modSld sldOrd modMainMaster">
      <pc:chgData name="Nadezda Solodjankina (ETF)" userId="aff63d91-b2e7-4aaf-9296-8e2378eca05d" providerId="ADAL" clId="{2BCFE0E8-745D-4A75-87B8-F1CA71ECAD6B}" dt="2024-04-03T17:40:54.427" v="2649" actId="1076"/>
      <pc:docMkLst>
        <pc:docMk/>
      </pc:docMkLst>
      <pc:sldChg chg="modSp mod">
        <pc:chgData name="Nadezda Solodjankina (ETF)" userId="aff63d91-b2e7-4aaf-9296-8e2378eca05d" providerId="ADAL" clId="{2BCFE0E8-745D-4A75-87B8-F1CA71ECAD6B}" dt="2024-04-03T17:40:54.427" v="2649" actId="1076"/>
        <pc:sldMkLst>
          <pc:docMk/>
          <pc:sldMk cId="0" sldId="256"/>
        </pc:sldMkLst>
        <pc:spChg chg="mod">
          <ac:chgData name="Nadezda Solodjankina (ETF)" userId="aff63d91-b2e7-4aaf-9296-8e2378eca05d" providerId="ADAL" clId="{2BCFE0E8-745D-4A75-87B8-F1CA71ECAD6B}" dt="2024-04-03T17:40:42.886" v="2646" actId="1076"/>
          <ac:spMkLst>
            <pc:docMk/>
            <pc:sldMk cId="0" sldId="256"/>
            <ac:spMk id="3" creationId="{E0BB2C26-CB06-1AC8-19B9-0FC4C2ED92C6}"/>
          </ac:spMkLst>
        </pc:spChg>
        <pc:spChg chg="mod">
          <ac:chgData name="Nadezda Solodjankina (ETF)" userId="aff63d91-b2e7-4aaf-9296-8e2378eca05d" providerId="ADAL" clId="{2BCFE0E8-745D-4A75-87B8-F1CA71ECAD6B}" dt="2024-04-03T17:40:51.095" v="2648" actId="1076"/>
          <ac:spMkLst>
            <pc:docMk/>
            <pc:sldMk cId="0" sldId="256"/>
            <ac:spMk id="16" creationId="{6D0D4771-B85A-684E-C5D8-5624B9CB48FD}"/>
          </ac:spMkLst>
        </pc:spChg>
        <pc:spChg chg="mod">
          <ac:chgData name="Nadezda Solodjankina (ETF)" userId="aff63d91-b2e7-4aaf-9296-8e2378eca05d" providerId="ADAL" clId="{2BCFE0E8-745D-4A75-87B8-F1CA71ECAD6B}" dt="2024-04-03T17:40:45.909" v="2647" actId="1076"/>
          <ac:spMkLst>
            <pc:docMk/>
            <pc:sldMk cId="0" sldId="256"/>
            <ac:spMk id="17" creationId="{FA220DA3-3008-C93E-9494-3492428A2C14}"/>
          </ac:spMkLst>
        </pc:spChg>
        <pc:spChg chg="mod">
          <ac:chgData name="Nadezda Solodjankina (ETF)" userId="aff63d91-b2e7-4aaf-9296-8e2378eca05d" providerId="ADAL" clId="{2BCFE0E8-745D-4A75-87B8-F1CA71ECAD6B}" dt="2024-04-03T17:40:38.794" v="2645" actId="1076"/>
          <ac:spMkLst>
            <pc:docMk/>
            <pc:sldMk cId="0" sldId="256"/>
            <ac:spMk id="18" creationId="{2CE2144F-9375-2D2E-12EA-9F52B36DE0ED}"/>
          </ac:spMkLst>
        </pc:spChg>
        <pc:spChg chg="mod">
          <ac:chgData name="Nadezda Solodjankina (ETF)" userId="aff63d91-b2e7-4aaf-9296-8e2378eca05d" providerId="ADAL" clId="{2BCFE0E8-745D-4A75-87B8-F1CA71ECAD6B}" dt="2024-04-03T17:40:54.427" v="2649" actId="1076"/>
          <ac:spMkLst>
            <pc:docMk/>
            <pc:sldMk cId="0" sldId="256"/>
            <ac:spMk id="19" creationId="{90829292-631A-733D-40A7-7906524DE2A3}"/>
          </ac:spMkLst>
        </pc:spChg>
      </pc:sldChg>
      <pc:sldChg chg="new del ord">
        <pc:chgData name="Nadezda Solodjankina (ETF)" userId="aff63d91-b2e7-4aaf-9296-8e2378eca05d" providerId="ADAL" clId="{2BCFE0E8-745D-4A75-87B8-F1CA71ECAD6B}" dt="2024-04-02T13:30:28.498" v="3" actId="47"/>
        <pc:sldMkLst>
          <pc:docMk/>
          <pc:sldMk cId="3135833739" sldId="257"/>
        </pc:sldMkLst>
      </pc:sldChg>
      <pc:sldChg chg="delSp modSp mod delAnim modAnim">
        <pc:chgData name="Nadezda Solodjankina (ETF)" userId="aff63d91-b2e7-4aaf-9296-8e2378eca05d" providerId="ADAL" clId="{2BCFE0E8-745D-4A75-87B8-F1CA71ECAD6B}" dt="2024-04-03T16:35:56.037" v="2641" actId="14100"/>
        <pc:sldMkLst>
          <pc:docMk/>
          <pc:sldMk cId="3852437590" sldId="273"/>
        </pc:sldMkLst>
        <pc:spChg chg="mod">
          <ac:chgData name="Nadezda Solodjankina (ETF)" userId="aff63d91-b2e7-4aaf-9296-8e2378eca05d" providerId="ADAL" clId="{2BCFE0E8-745D-4A75-87B8-F1CA71ECAD6B}" dt="2024-04-03T16:03:59.800" v="2234" actId="20577"/>
          <ac:spMkLst>
            <pc:docMk/>
            <pc:sldMk cId="3852437590" sldId="273"/>
            <ac:spMk id="7" creationId="{6E0AC6CE-B1BB-33DF-704A-0BAF6BEC0F43}"/>
          </ac:spMkLst>
        </pc:spChg>
        <pc:spChg chg="mod">
          <ac:chgData name="Nadezda Solodjankina (ETF)" userId="aff63d91-b2e7-4aaf-9296-8e2378eca05d" providerId="ADAL" clId="{2BCFE0E8-745D-4A75-87B8-F1CA71ECAD6B}" dt="2024-04-03T16:35:27.363" v="2637" actId="255"/>
          <ac:spMkLst>
            <pc:docMk/>
            <pc:sldMk cId="3852437590" sldId="273"/>
            <ac:spMk id="25" creationId="{06C0A742-FB64-703A-CD5E-178AE34CFBEE}"/>
          </ac:spMkLst>
        </pc:spChg>
        <pc:spChg chg="mod">
          <ac:chgData name="Nadezda Solodjankina (ETF)" userId="aff63d91-b2e7-4aaf-9296-8e2378eca05d" providerId="ADAL" clId="{2BCFE0E8-745D-4A75-87B8-F1CA71ECAD6B}" dt="2024-04-03T16:35:52" v="2640" actId="14100"/>
          <ac:spMkLst>
            <pc:docMk/>
            <pc:sldMk cId="3852437590" sldId="273"/>
            <ac:spMk id="27" creationId="{26436C90-5142-0B24-9287-61DA6F2BC123}"/>
          </ac:spMkLst>
        </pc:spChg>
        <pc:grpChg chg="del">
          <ac:chgData name="Nadezda Solodjankina (ETF)" userId="aff63d91-b2e7-4aaf-9296-8e2378eca05d" providerId="ADAL" clId="{2BCFE0E8-745D-4A75-87B8-F1CA71ECAD6B}" dt="2024-04-03T16:35:02.384" v="2630" actId="478"/>
          <ac:grpSpMkLst>
            <pc:docMk/>
            <pc:sldMk cId="3852437590" sldId="273"/>
            <ac:grpSpMk id="29" creationId="{C0205C0F-25B6-3DEE-B9BF-F4CAD209EFCE}"/>
          </ac:grpSpMkLst>
        </pc:grpChg>
        <pc:picChg chg="mod">
          <ac:chgData name="Nadezda Solodjankina (ETF)" userId="aff63d91-b2e7-4aaf-9296-8e2378eca05d" providerId="ADAL" clId="{2BCFE0E8-745D-4A75-87B8-F1CA71ECAD6B}" dt="2024-04-03T16:35:56.037" v="2641" actId="14100"/>
          <ac:picMkLst>
            <pc:docMk/>
            <pc:sldMk cId="3852437590" sldId="273"/>
            <ac:picMk id="11" creationId="{A0508A8D-C4AD-E546-C473-7B4A458AA321}"/>
          </ac:picMkLst>
        </pc:picChg>
        <pc:picChg chg="mod">
          <ac:chgData name="Nadezda Solodjankina (ETF)" userId="aff63d91-b2e7-4aaf-9296-8e2378eca05d" providerId="ADAL" clId="{2BCFE0E8-745D-4A75-87B8-F1CA71ECAD6B}" dt="2024-04-03T16:35:41.541" v="2639" actId="1076"/>
          <ac:picMkLst>
            <pc:docMk/>
            <pc:sldMk cId="3852437590" sldId="273"/>
            <ac:picMk id="15" creationId="{3FBDB1EA-135C-9920-3CFE-49E67B75F879}"/>
          </ac:picMkLst>
        </pc:picChg>
      </pc:sldChg>
      <pc:sldChg chg="delSp modSp mod modAnim">
        <pc:chgData name="Nadezda Solodjankina (ETF)" userId="aff63d91-b2e7-4aaf-9296-8e2378eca05d" providerId="ADAL" clId="{2BCFE0E8-745D-4A75-87B8-F1CA71ECAD6B}" dt="2024-04-03T16:32:37.896" v="2575" actId="20577"/>
        <pc:sldMkLst>
          <pc:docMk/>
          <pc:sldMk cId="907915233" sldId="305"/>
        </pc:sldMkLst>
        <pc:spChg chg="del">
          <ac:chgData name="Nadezda Solodjankina (ETF)" userId="aff63d91-b2e7-4aaf-9296-8e2378eca05d" providerId="ADAL" clId="{2BCFE0E8-745D-4A75-87B8-F1CA71ECAD6B}" dt="2024-04-02T14:01:43.383" v="834" actId="478"/>
          <ac:spMkLst>
            <pc:docMk/>
            <pc:sldMk cId="907915233" sldId="305"/>
            <ac:spMk id="2" creationId="{D6DA70B7-0491-9695-B87C-F5A2E0E9BC73}"/>
          </ac:spMkLst>
        </pc:spChg>
        <pc:spChg chg="del mod">
          <ac:chgData name="Nadezda Solodjankina (ETF)" userId="aff63d91-b2e7-4aaf-9296-8e2378eca05d" providerId="ADAL" clId="{2BCFE0E8-745D-4A75-87B8-F1CA71ECAD6B}" dt="2024-04-02T14:01:50.453" v="836" actId="478"/>
          <ac:spMkLst>
            <pc:docMk/>
            <pc:sldMk cId="907915233" sldId="305"/>
            <ac:spMk id="3" creationId="{584B0E89-D4A7-8E40-4FD9-6006E1558D5A}"/>
          </ac:spMkLst>
        </pc:spChg>
        <pc:spChg chg="mod">
          <ac:chgData name="Nadezda Solodjankina (ETF)" userId="aff63d91-b2e7-4aaf-9296-8e2378eca05d" providerId="ADAL" clId="{2BCFE0E8-745D-4A75-87B8-F1CA71ECAD6B}" dt="2024-04-02T14:01:32.949" v="831" actId="1076"/>
          <ac:spMkLst>
            <pc:docMk/>
            <pc:sldMk cId="907915233" sldId="305"/>
            <ac:spMk id="11" creationId="{A37E80B4-8CAF-0F9A-2E52-EE338C877325}"/>
          </ac:spMkLst>
        </pc:spChg>
        <pc:spChg chg="mod">
          <ac:chgData name="Nadezda Solodjankina (ETF)" userId="aff63d91-b2e7-4aaf-9296-8e2378eca05d" providerId="ADAL" clId="{2BCFE0E8-745D-4A75-87B8-F1CA71ECAD6B}" dt="2024-04-03T16:32:37.896" v="2575" actId="20577"/>
          <ac:spMkLst>
            <pc:docMk/>
            <pc:sldMk cId="907915233" sldId="305"/>
            <ac:spMk id="12" creationId="{18F716D7-B5F6-4D95-5A49-47DACDE8C2B9}"/>
          </ac:spMkLst>
        </pc:spChg>
        <pc:spChg chg="mod">
          <ac:chgData name="Nadezda Solodjankina (ETF)" userId="aff63d91-b2e7-4aaf-9296-8e2378eca05d" providerId="ADAL" clId="{2BCFE0E8-745D-4A75-87B8-F1CA71ECAD6B}" dt="2024-04-02T13:57:34.549" v="793" actId="14100"/>
          <ac:spMkLst>
            <pc:docMk/>
            <pc:sldMk cId="907915233" sldId="305"/>
            <ac:spMk id="13" creationId="{51D2DE0E-3F1A-2D46-CA1D-0AFD7F605A3C}"/>
          </ac:spMkLst>
        </pc:spChg>
        <pc:spChg chg="mod">
          <ac:chgData name="Nadezda Solodjankina (ETF)" userId="aff63d91-b2e7-4aaf-9296-8e2378eca05d" providerId="ADAL" clId="{2BCFE0E8-745D-4A75-87B8-F1CA71ECAD6B}" dt="2024-04-02T13:57:31.107" v="792" actId="14100"/>
          <ac:spMkLst>
            <pc:docMk/>
            <pc:sldMk cId="907915233" sldId="305"/>
            <ac:spMk id="14" creationId="{6F220950-8B90-61BD-9DAF-D882CC0A7EA2}"/>
          </ac:spMkLst>
        </pc:spChg>
        <pc:picChg chg="del">
          <ac:chgData name="Nadezda Solodjankina (ETF)" userId="aff63d91-b2e7-4aaf-9296-8e2378eca05d" providerId="ADAL" clId="{2BCFE0E8-745D-4A75-87B8-F1CA71ECAD6B}" dt="2024-04-02T13:57:10.187" v="787" actId="478"/>
          <ac:picMkLst>
            <pc:docMk/>
            <pc:sldMk cId="907915233" sldId="305"/>
            <ac:picMk id="6" creationId="{3462E7C4-4B22-E2AB-E7A2-C672A58B8E32}"/>
          </ac:picMkLst>
        </pc:picChg>
        <pc:picChg chg="mod">
          <ac:chgData name="Nadezda Solodjankina (ETF)" userId="aff63d91-b2e7-4aaf-9296-8e2378eca05d" providerId="ADAL" clId="{2BCFE0E8-745D-4A75-87B8-F1CA71ECAD6B}" dt="2024-04-02T14:24:38.603" v="1609" actId="14100"/>
          <ac:picMkLst>
            <pc:docMk/>
            <pc:sldMk cId="907915233" sldId="305"/>
            <ac:picMk id="15" creationId="{731BD94B-FB15-0FF2-B2A2-E4274C4C5462}"/>
          </ac:picMkLst>
        </pc:picChg>
      </pc:sldChg>
      <pc:sldChg chg="addSp delSp modSp del mod">
        <pc:chgData name="Nadezda Solodjankina (ETF)" userId="aff63d91-b2e7-4aaf-9296-8e2378eca05d" providerId="ADAL" clId="{2BCFE0E8-745D-4A75-87B8-F1CA71ECAD6B}" dt="2024-04-03T07:01:53.058" v="2062" actId="20577"/>
        <pc:sldMkLst>
          <pc:docMk/>
          <pc:sldMk cId="3275025215" sldId="306"/>
        </pc:sldMkLst>
        <pc:spChg chg="add mod">
          <ac:chgData name="Nadezda Solodjankina (ETF)" userId="aff63d91-b2e7-4aaf-9296-8e2378eca05d" providerId="ADAL" clId="{2BCFE0E8-745D-4A75-87B8-F1CA71ECAD6B}" dt="2024-04-02T13:38:45.254" v="92" actId="20577"/>
          <ac:spMkLst>
            <pc:docMk/>
            <pc:sldMk cId="3275025215" sldId="306"/>
            <ac:spMk id="4" creationId="{6E50567B-B736-865C-8F10-2B6EE8800794}"/>
          </ac:spMkLst>
        </pc:spChg>
        <pc:spChg chg="del">
          <ac:chgData name="Nadezda Solodjankina (ETF)" userId="aff63d91-b2e7-4aaf-9296-8e2378eca05d" providerId="ADAL" clId="{2BCFE0E8-745D-4A75-87B8-F1CA71ECAD6B}" dt="2024-04-02T13:34:42.153" v="10" actId="478"/>
          <ac:spMkLst>
            <pc:docMk/>
            <pc:sldMk cId="3275025215" sldId="306"/>
            <ac:spMk id="21" creationId="{A418244A-A90A-1D60-54C0-0C5E220229D2}"/>
          </ac:spMkLst>
        </pc:spChg>
        <pc:spChg chg="mod">
          <ac:chgData name="Nadezda Solodjankina (ETF)" userId="aff63d91-b2e7-4aaf-9296-8e2378eca05d" providerId="ADAL" clId="{2BCFE0E8-745D-4A75-87B8-F1CA71ECAD6B}" dt="2024-04-03T07:01:53.058" v="2062" actId="20577"/>
          <ac:spMkLst>
            <pc:docMk/>
            <pc:sldMk cId="3275025215" sldId="306"/>
            <ac:spMk id="22" creationId="{0DCF9318-03C9-9939-1C5A-E9BA7B014104}"/>
          </ac:spMkLst>
        </pc:spChg>
      </pc:sldChg>
      <pc:sldChg chg="modSp mod modAnim">
        <pc:chgData name="Nadezda Solodjankina (ETF)" userId="aff63d91-b2e7-4aaf-9296-8e2378eca05d" providerId="ADAL" clId="{2BCFE0E8-745D-4A75-87B8-F1CA71ECAD6B}" dt="2024-04-03T15:52:38.449" v="2183" actId="14100"/>
        <pc:sldMkLst>
          <pc:docMk/>
          <pc:sldMk cId="2191432581" sldId="307"/>
        </pc:sldMkLst>
        <pc:spChg chg="mod">
          <ac:chgData name="Nadezda Solodjankina (ETF)" userId="aff63d91-b2e7-4aaf-9296-8e2378eca05d" providerId="ADAL" clId="{2BCFE0E8-745D-4A75-87B8-F1CA71ECAD6B}" dt="2024-04-03T15:26:17.607" v="2068" actId="14100"/>
          <ac:spMkLst>
            <pc:docMk/>
            <pc:sldMk cId="2191432581" sldId="307"/>
            <ac:spMk id="11" creationId="{A37E80B4-8CAF-0F9A-2E52-EE338C877325}"/>
          </ac:spMkLst>
        </pc:spChg>
        <pc:spChg chg="mod">
          <ac:chgData name="Nadezda Solodjankina (ETF)" userId="aff63d91-b2e7-4aaf-9296-8e2378eca05d" providerId="ADAL" clId="{2BCFE0E8-745D-4A75-87B8-F1CA71ECAD6B}" dt="2024-04-03T15:37:34.009" v="2160" actId="207"/>
          <ac:spMkLst>
            <pc:docMk/>
            <pc:sldMk cId="2191432581" sldId="307"/>
            <ac:spMk id="12" creationId="{18F716D7-B5F6-4D95-5A49-47DACDE8C2B9}"/>
          </ac:spMkLst>
        </pc:spChg>
        <pc:picChg chg="mod">
          <ac:chgData name="Nadezda Solodjankina (ETF)" userId="aff63d91-b2e7-4aaf-9296-8e2378eca05d" providerId="ADAL" clId="{2BCFE0E8-745D-4A75-87B8-F1CA71ECAD6B}" dt="2024-04-03T15:52:38.449" v="2183" actId="14100"/>
          <ac:picMkLst>
            <pc:docMk/>
            <pc:sldMk cId="2191432581" sldId="307"/>
            <ac:picMk id="15" creationId="{731BD94B-FB15-0FF2-B2A2-E4274C4C5462}"/>
          </ac:picMkLst>
        </pc:picChg>
      </pc:sldChg>
      <pc:sldChg chg="modSp mod">
        <pc:chgData name="Nadezda Solodjankina (ETF)" userId="aff63d91-b2e7-4aaf-9296-8e2378eca05d" providerId="ADAL" clId="{2BCFE0E8-745D-4A75-87B8-F1CA71ECAD6B}" dt="2024-04-03T15:52:26.359" v="2182" actId="1076"/>
        <pc:sldMkLst>
          <pc:docMk/>
          <pc:sldMk cId="1908620246" sldId="308"/>
        </pc:sldMkLst>
        <pc:spChg chg="mod">
          <ac:chgData name="Nadezda Solodjankina (ETF)" userId="aff63d91-b2e7-4aaf-9296-8e2378eca05d" providerId="ADAL" clId="{2BCFE0E8-745D-4A75-87B8-F1CA71ECAD6B}" dt="2024-04-03T15:50:45.516" v="2161"/>
          <ac:spMkLst>
            <pc:docMk/>
            <pc:sldMk cId="1908620246" sldId="308"/>
            <ac:spMk id="11" creationId="{A37E80B4-8CAF-0F9A-2E52-EE338C877325}"/>
          </ac:spMkLst>
        </pc:spChg>
        <pc:spChg chg="mod">
          <ac:chgData name="Nadezda Solodjankina (ETF)" userId="aff63d91-b2e7-4aaf-9296-8e2378eca05d" providerId="ADAL" clId="{2BCFE0E8-745D-4A75-87B8-F1CA71ECAD6B}" dt="2024-04-03T15:52:26.359" v="2182" actId="1076"/>
          <ac:spMkLst>
            <pc:docMk/>
            <pc:sldMk cId="1908620246" sldId="308"/>
            <ac:spMk id="12" creationId="{18F716D7-B5F6-4D95-5A49-47DACDE8C2B9}"/>
          </ac:spMkLst>
        </pc:spChg>
        <pc:picChg chg="mod">
          <ac:chgData name="Nadezda Solodjankina (ETF)" userId="aff63d91-b2e7-4aaf-9296-8e2378eca05d" providerId="ADAL" clId="{2BCFE0E8-745D-4A75-87B8-F1CA71ECAD6B}" dt="2024-04-03T15:51:58.192" v="2176" actId="14100"/>
          <ac:picMkLst>
            <pc:docMk/>
            <pc:sldMk cId="1908620246" sldId="308"/>
            <ac:picMk id="15" creationId="{731BD94B-FB15-0FF2-B2A2-E4274C4C5462}"/>
          </ac:picMkLst>
        </pc:picChg>
      </pc:sldChg>
      <pc:sldChg chg="modSp del mod modAnim">
        <pc:chgData name="Nadezda Solodjankina (ETF)" userId="aff63d91-b2e7-4aaf-9296-8e2378eca05d" providerId="ADAL" clId="{2BCFE0E8-745D-4A75-87B8-F1CA71ECAD6B}" dt="2024-04-02T13:32:39.858" v="6" actId="2696"/>
        <pc:sldMkLst>
          <pc:docMk/>
          <pc:sldMk cId="4037699140" sldId="568"/>
        </pc:sldMkLst>
        <pc:spChg chg="mod">
          <ac:chgData name="Nadezda Solodjankina (ETF)" userId="aff63d91-b2e7-4aaf-9296-8e2378eca05d" providerId="ADAL" clId="{2BCFE0E8-745D-4A75-87B8-F1CA71ECAD6B}" dt="2024-04-02T13:32:26.888" v="5" actId="27636"/>
          <ac:spMkLst>
            <pc:docMk/>
            <pc:sldMk cId="4037699140" sldId="568"/>
            <ac:spMk id="25" creationId="{827437FF-1367-1C1C-591C-E3DFB8BBF4CF}"/>
          </ac:spMkLst>
        </pc:spChg>
      </pc:sldChg>
      <pc:sldMasterChg chg="modSldLayout">
        <pc:chgData name="Nadezda Solodjankina (ETF)" userId="aff63d91-b2e7-4aaf-9296-8e2378eca05d" providerId="ADAL" clId="{2BCFE0E8-745D-4A75-87B8-F1CA71ECAD6B}" dt="2024-04-02T13:34:27.070" v="9" actId="27636"/>
        <pc:sldMasterMkLst>
          <pc:docMk/>
          <pc:sldMasterMk cId="0" sldId="2147483648"/>
        </pc:sldMasterMkLst>
        <pc:sldLayoutChg chg="modSp mod">
          <pc:chgData name="Nadezda Solodjankina (ETF)" userId="aff63d91-b2e7-4aaf-9296-8e2378eca05d" providerId="ADAL" clId="{2BCFE0E8-745D-4A75-87B8-F1CA71ECAD6B}" dt="2024-04-02T13:34:27.070" v="9" actId="27636"/>
          <pc:sldLayoutMkLst>
            <pc:docMk/>
            <pc:sldMasterMk cId="0" sldId="2147483648"/>
            <pc:sldLayoutMk cId="3755490112" sldId="2147483715"/>
          </pc:sldLayoutMkLst>
          <pc:spChg chg="mod">
            <ac:chgData name="Nadezda Solodjankina (ETF)" userId="aff63d91-b2e7-4aaf-9296-8e2378eca05d" providerId="ADAL" clId="{2BCFE0E8-745D-4A75-87B8-F1CA71ECAD6B}" dt="2024-04-02T13:34:27.070" v="9" actId="27636"/>
            <ac:spMkLst>
              <pc:docMk/>
              <pc:sldMasterMk cId="0" sldId="2147483648"/>
              <pc:sldLayoutMk cId="3755490112" sldId="2147483715"/>
              <ac:spMk id="6" creationId="{441FD46B-C8E0-1B9B-83B9-99E4B55112EC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28CEB1-5F15-4F9A-8EA5-25300ADB9A4E}" type="datetimeFigureOut">
              <a:rPr lang="en-GB" smtClean="0"/>
              <a:t>04/04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8296EB-AC76-432C-A3E0-218FE25ED7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09306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8296EB-AC76-432C-A3E0-218FE25ED783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19998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3.sv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5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png"/><Relationship Id="rId5" Type="http://schemas.openxmlformats.org/officeDocument/2006/relationships/image" Target="../media/image12.png"/><Relationship Id="rId4" Type="http://schemas.openxmlformats.org/officeDocument/2006/relationships/image" Target="../media/image3.sv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D8E11E-7C66-9E13-1C14-701D990049F4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1524003" y="1122361"/>
            <a:ext cx="9144000" cy="2387598"/>
          </a:xfrm>
        </p:spPr>
        <p:txBody>
          <a:bodyPr anchor="b" anchorCtr="1"/>
          <a:lstStyle>
            <a:lvl1pPr algn="ctr">
              <a:defRPr sz="6000"/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AF6435F-6598-E32D-2AE1-9D12C841E049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1524003" y="3602041"/>
            <a:ext cx="9144000" cy="1655758"/>
          </a:xfrm>
        </p:spPr>
        <p:txBody>
          <a:bodyPr anchorCtr="1"/>
          <a:lstStyle>
            <a:lvl1pPr marL="0" indent="0" algn="ctr">
              <a:buNone/>
              <a:defRPr sz="2400"/>
            </a:lvl1pPr>
          </a:lstStyle>
          <a:p>
            <a:pPr lvl="0"/>
            <a:r>
              <a:rPr lang="en-US"/>
              <a:t>Click to edit Master subtitle style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DAC070-E9FB-8883-019B-6BF637605CF0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FC25B557-0564-4267-8FDF-464DA363FCAC}" type="datetime1">
              <a:rPr lang="fr-FR"/>
              <a:pPr lvl="0"/>
              <a:t>03/04/2024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2E9469-31C8-73D2-178D-EE9F386D38E8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FC37C8-31DF-846A-6F02-9B4587F2D203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9C51E341-A092-49CF-90CC-4DC05C9E42E6}" type="slidenum"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63299436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7D79F-9EA7-3AF0-AE23-7D7FEF441B58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C025134-B27B-0BB2-82AE-E4A43101BCFB}"/>
              </a:ext>
            </a:extLst>
          </p:cNvPr>
          <p:cNvSpPr txBox="1"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590E0F-DBFF-73FB-208A-0F76F37B9679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7AA61256-2CA8-4416-826E-E352E10EB05C}" type="datetime1">
              <a:rPr lang="fr-FR"/>
              <a:pPr lvl="0"/>
              <a:t>03/04/2024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171D29-5BEF-12F7-6374-80DE322362C7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D7B797-C7B1-71FD-FD23-9D0BC9F6824A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69D11C85-0A45-463D-ADEE-DAF0D0A05082}" type="slidenum"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439879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732376C-164A-EA18-421E-35BAC2E6949D}"/>
              </a:ext>
            </a:extLst>
          </p:cNvPr>
          <p:cNvSpPr txBox="1">
            <a:spLocks noGrp="1"/>
          </p:cNvSpPr>
          <p:nvPr>
            <p:ph type="title" orient="vert"/>
          </p:nvPr>
        </p:nvSpPr>
        <p:spPr>
          <a:xfrm>
            <a:off x="8724903" y="365129"/>
            <a:ext cx="2628899" cy="5811834"/>
          </a:xfrm>
        </p:spPr>
        <p:txBody>
          <a:bodyPr vert="eaVert"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7EAFC54-B2EB-E3FC-3C63-46A271EC8A76}"/>
              </a:ext>
            </a:extLst>
          </p:cNvPr>
          <p:cNvSpPr txBox="1">
            <a:spLocks noGrp="1"/>
          </p:cNvSpPr>
          <p:nvPr>
            <p:ph type="body" orient="vert" idx="1"/>
          </p:nvPr>
        </p:nvSpPr>
        <p:spPr>
          <a:xfrm>
            <a:off x="838203" y="365129"/>
            <a:ext cx="7734296" cy="5811834"/>
          </a:xfrm>
        </p:spPr>
        <p:txBody>
          <a:bodyPr vert="eaVer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8C872B-F250-DDC1-CA30-60A708AA02C8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C173E781-83AF-4099-AD66-040226729924}" type="datetime1">
              <a:rPr lang="fr-FR"/>
              <a:pPr lvl="0"/>
              <a:t>03/04/2024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75C204-30F0-301C-E418-5C9478236692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7A3172-4A7E-89C1-3F68-637BAB7E7353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CD8A21F7-887A-47F5-9252-4F34276AD41E}" type="slidenum"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053848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Text Placeholder 16">
            <a:extLst>
              <a:ext uri="{FF2B5EF4-FFF2-40B4-BE49-F238E27FC236}">
                <a16:creationId xmlns:a16="http://schemas.microsoft.com/office/drawing/2014/main" id="{CCF577C4-D10B-FC22-6AFC-EC87A21D9B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2306698"/>
            <a:ext cx="10713953" cy="39305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2" name="Title 6">
            <a:extLst>
              <a:ext uri="{FF2B5EF4-FFF2-40B4-BE49-F238E27FC236}">
                <a16:creationId xmlns:a16="http://schemas.microsoft.com/office/drawing/2014/main" id="{7FE99AF3-5C6C-E5CD-E0DD-63B9AEBD90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630" y="1230238"/>
            <a:ext cx="10713953" cy="8326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7EDA0FA-3C47-2126-A462-118D5004A5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7368" y="5627208"/>
            <a:ext cx="1079625" cy="61008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45600CD7-5315-68D0-7327-125A973CF0F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8203065" y="2177780"/>
            <a:ext cx="416760" cy="251888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41FD46B-C8E0-1B9B-83B9-99E4B55112EC}"/>
              </a:ext>
            </a:extLst>
          </p:cNvPr>
          <p:cNvSpPr txBox="1">
            <a:spLocks/>
          </p:cNvSpPr>
          <p:nvPr userDrawn="1"/>
        </p:nvSpPr>
        <p:spPr>
          <a:xfrm>
            <a:off x="767408" y="6365040"/>
            <a:ext cx="2462475" cy="225178"/>
          </a:xfrm>
          <a:prstGeom prst="rect">
            <a:avLst/>
          </a:prstGeom>
        </p:spPr>
        <p:txBody>
          <a:bodyPr vert="horz" lIns="0" tIns="0" rIns="0" bIns="0" rtlCol="0" anchor="ctr">
            <a:normAutofit fontScale="62500" lnSpcReduction="2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/>
              <a:t>This project is financed by the European Union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F9F7238-753C-8C04-9285-3977514BA2F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7740" y="6340748"/>
            <a:ext cx="306614" cy="204409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3CFD04C4-FE7D-6615-90B0-44CB1FDB70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7368" y="317581"/>
            <a:ext cx="1148318" cy="69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4901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ext Placeholder 131">
            <a:extLst>
              <a:ext uri="{FF2B5EF4-FFF2-40B4-BE49-F238E27FC236}">
                <a16:creationId xmlns:a16="http://schemas.microsoft.com/office/drawing/2014/main" id="{EFC71865-06BE-A4E3-2B04-E70CE51DB33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2515316"/>
            <a:ext cx="4476959" cy="4342684"/>
          </a:xfrm>
          <a:custGeom>
            <a:avLst/>
            <a:gdLst>
              <a:gd name="connsiteX0" fmla="*/ 0 w 4476959"/>
              <a:gd name="connsiteY0" fmla="*/ 0 h 4342684"/>
              <a:gd name="connsiteX1" fmla="*/ 4265976 w 4476959"/>
              <a:gd name="connsiteY1" fmla="*/ 4110090 h 4342684"/>
              <a:gd name="connsiteX2" fmla="*/ 4476959 w 4476959"/>
              <a:gd name="connsiteY2" fmla="*/ 4342684 h 4342684"/>
              <a:gd name="connsiteX3" fmla="*/ 0 w 4476959"/>
              <a:gd name="connsiteY3" fmla="*/ 4342684 h 43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76959" h="4342684">
                <a:moveTo>
                  <a:pt x="0" y="0"/>
                </a:moveTo>
                <a:lnTo>
                  <a:pt x="4265976" y="4110090"/>
                </a:lnTo>
                <a:lnTo>
                  <a:pt x="4476959" y="4342684"/>
                </a:lnTo>
                <a:lnTo>
                  <a:pt x="0" y="4342684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5" name="Text Placeholder 16">
            <a:extLst>
              <a:ext uri="{FF2B5EF4-FFF2-40B4-BE49-F238E27FC236}">
                <a16:creationId xmlns:a16="http://schemas.microsoft.com/office/drawing/2014/main" id="{A205015B-D9D2-4C2E-8ADD-D765DE1120E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69769" y="1764973"/>
            <a:ext cx="6198344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6" name="Title 6">
            <a:extLst>
              <a:ext uri="{FF2B5EF4-FFF2-40B4-BE49-F238E27FC236}">
                <a16:creationId xmlns:a16="http://schemas.microsoft.com/office/drawing/2014/main" id="{F47342DE-2AF2-7209-DD6B-B5B02D4754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0187" y="332657"/>
            <a:ext cx="619792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0568114B-1607-9400-3EE7-3120123CEDB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1"/>
            <a:ext cx="2863438" cy="6285957"/>
          </a:xfrm>
          <a:custGeom>
            <a:avLst/>
            <a:gdLst>
              <a:gd name="connsiteX0" fmla="*/ 0 w 2863438"/>
              <a:gd name="connsiteY0" fmla="*/ 0 h 6285957"/>
              <a:gd name="connsiteX1" fmla="*/ 834528 w 2863438"/>
              <a:gd name="connsiteY1" fmla="*/ 0 h 6285957"/>
              <a:gd name="connsiteX2" fmla="*/ 2350678 w 2863438"/>
              <a:gd name="connsiteY2" fmla="*/ 1460747 h 6285957"/>
              <a:gd name="connsiteX3" fmla="*/ 2850304 w 2863438"/>
              <a:gd name="connsiteY3" fmla="*/ 2628739 h 6285957"/>
              <a:gd name="connsiteX4" fmla="*/ 2863432 w 2863438"/>
              <a:gd name="connsiteY4" fmla="*/ 5924642 h 6285957"/>
              <a:gd name="connsiteX5" fmla="*/ 2368957 w 2863438"/>
              <a:gd name="connsiteY5" fmla="*/ 6136499 h 6285957"/>
              <a:gd name="connsiteX6" fmla="*/ 0 w 2863438"/>
              <a:gd name="connsiteY6" fmla="*/ 3860246 h 62859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63438" h="6285957">
                <a:moveTo>
                  <a:pt x="0" y="0"/>
                </a:moveTo>
                <a:lnTo>
                  <a:pt x="834528" y="0"/>
                </a:lnTo>
                <a:lnTo>
                  <a:pt x="2350678" y="1460747"/>
                </a:lnTo>
                <a:cubicBezTo>
                  <a:pt x="2624864" y="1725085"/>
                  <a:pt x="2850304" y="2247688"/>
                  <a:pt x="2850304" y="2628739"/>
                </a:cubicBezTo>
                <a:lnTo>
                  <a:pt x="2863432" y="5924642"/>
                </a:lnTo>
                <a:cubicBezTo>
                  <a:pt x="2864839" y="6305693"/>
                  <a:pt x="2643609" y="6400372"/>
                  <a:pt x="2368957" y="6136499"/>
                </a:cubicBezTo>
                <a:lnTo>
                  <a:pt x="0" y="3860246"/>
                </a:lnTo>
                <a:close/>
              </a:path>
            </a:pathLst>
          </a:custGeom>
          <a:solidFill>
            <a:srgbClr val="FFDC00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FDC00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7845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Picture Placeholder 170">
            <a:extLst>
              <a:ext uri="{FF2B5EF4-FFF2-40B4-BE49-F238E27FC236}">
                <a16:creationId xmlns:a16="http://schemas.microsoft.com/office/drawing/2014/main" id="{E39566F6-E67C-A855-340C-601E04B8FC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2468992" cy="4189512"/>
          </a:xfrm>
          <a:custGeom>
            <a:avLst/>
            <a:gdLst>
              <a:gd name="connsiteX0" fmla="*/ 2023284 w 2468992"/>
              <a:gd name="connsiteY0" fmla="*/ 0 h 4189512"/>
              <a:gd name="connsiteX1" fmla="*/ 2468992 w 2468992"/>
              <a:gd name="connsiteY1" fmla="*/ 0 h 4189512"/>
              <a:gd name="connsiteX2" fmla="*/ 2468992 w 2468992"/>
              <a:gd name="connsiteY2" fmla="*/ 1485749 h 4189512"/>
              <a:gd name="connsiteX3" fmla="*/ 2230055 w 2468992"/>
              <a:gd name="connsiteY3" fmla="*/ 2046726 h 4189512"/>
              <a:gd name="connsiteX4" fmla="*/ 0 w 2468992"/>
              <a:gd name="connsiteY4" fmla="*/ 4189512 h 4189512"/>
              <a:gd name="connsiteX5" fmla="*/ 0 w 2468992"/>
              <a:gd name="connsiteY5" fmla="*/ 1949350 h 4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68992" h="4189512">
                <a:moveTo>
                  <a:pt x="2023284" y="0"/>
                </a:moveTo>
                <a:lnTo>
                  <a:pt x="2468992" y="0"/>
                </a:lnTo>
                <a:lnTo>
                  <a:pt x="2468992" y="1485749"/>
                </a:lnTo>
                <a:cubicBezTo>
                  <a:pt x="2468992" y="1668841"/>
                  <a:pt x="2362019" y="1919936"/>
                  <a:pt x="2230055" y="2046726"/>
                </a:cubicBezTo>
                <a:lnTo>
                  <a:pt x="0" y="4189512"/>
                </a:lnTo>
                <a:lnTo>
                  <a:pt x="0" y="19493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3" name="Picture Placeholder 172">
            <a:extLst>
              <a:ext uri="{FF2B5EF4-FFF2-40B4-BE49-F238E27FC236}">
                <a16:creationId xmlns:a16="http://schemas.microsoft.com/office/drawing/2014/main" id="{0992B498-A50C-0779-1448-C4C3A12D2DD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714666" y="3771987"/>
            <a:ext cx="3336776" cy="3086012"/>
          </a:xfrm>
          <a:custGeom>
            <a:avLst/>
            <a:gdLst>
              <a:gd name="connsiteX0" fmla="*/ 105190 w 3336776"/>
              <a:gd name="connsiteY0" fmla="*/ 31 h 3086012"/>
              <a:gd name="connsiteX1" fmla="*/ 238713 w 3336776"/>
              <a:gd name="connsiteY1" fmla="*/ 71887 h 3086012"/>
              <a:gd name="connsiteX2" fmla="*/ 3239968 w 3336776"/>
              <a:gd name="connsiteY2" fmla="*/ 2963471 h 3086012"/>
              <a:gd name="connsiteX3" fmla="*/ 3333056 w 3336776"/>
              <a:gd name="connsiteY3" fmla="*/ 3078994 h 3086012"/>
              <a:gd name="connsiteX4" fmla="*/ 3336776 w 3336776"/>
              <a:gd name="connsiteY4" fmla="*/ 3086012 h 3086012"/>
              <a:gd name="connsiteX5" fmla="*/ 1038182 w 3336776"/>
              <a:gd name="connsiteY5" fmla="*/ 3086012 h 3086012"/>
              <a:gd name="connsiteX6" fmla="*/ 238937 w 3336776"/>
              <a:gd name="connsiteY6" fmla="*/ 2318043 h 3086012"/>
              <a:gd name="connsiteX7" fmla="*/ 0 w 3336776"/>
              <a:gd name="connsiteY7" fmla="*/ 1757066 h 3086012"/>
              <a:gd name="connsiteX8" fmla="*/ 0 w 3336776"/>
              <a:gd name="connsiteY8" fmla="*/ 173456 h 3086012"/>
              <a:gd name="connsiteX9" fmla="*/ 105190 w 3336776"/>
              <a:gd name="connsiteY9" fmla="*/ 31 h 3086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36776" h="3086012">
                <a:moveTo>
                  <a:pt x="105190" y="31"/>
                </a:moveTo>
                <a:cubicBezTo>
                  <a:pt x="143285" y="992"/>
                  <a:pt x="189226" y="24342"/>
                  <a:pt x="238713" y="71887"/>
                </a:cubicBezTo>
                <a:lnTo>
                  <a:pt x="3239968" y="2963471"/>
                </a:lnTo>
                <a:cubicBezTo>
                  <a:pt x="3272903" y="2995224"/>
                  <a:pt x="3304375" y="3034732"/>
                  <a:pt x="3333056" y="3078994"/>
                </a:cubicBezTo>
                <a:lnTo>
                  <a:pt x="3336776" y="3086012"/>
                </a:lnTo>
                <a:lnTo>
                  <a:pt x="1038182" y="3086012"/>
                </a:lnTo>
                <a:lnTo>
                  <a:pt x="238937" y="2318043"/>
                </a:lnTo>
                <a:cubicBezTo>
                  <a:pt x="106972" y="2191253"/>
                  <a:pt x="0" y="1940158"/>
                  <a:pt x="0" y="1757066"/>
                </a:cubicBezTo>
                <a:lnTo>
                  <a:pt x="0" y="173456"/>
                </a:lnTo>
                <a:cubicBezTo>
                  <a:pt x="0" y="59023"/>
                  <a:pt x="41698" y="-1570"/>
                  <a:pt x="105190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4" name="Picture Placeholder 173">
            <a:extLst>
              <a:ext uri="{FF2B5EF4-FFF2-40B4-BE49-F238E27FC236}">
                <a16:creationId xmlns:a16="http://schemas.microsoft.com/office/drawing/2014/main" id="{38986D5E-6A4C-ABBA-AA85-354C99FF445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4898" y="4763759"/>
            <a:ext cx="2337771" cy="2094241"/>
          </a:xfrm>
          <a:custGeom>
            <a:avLst/>
            <a:gdLst>
              <a:gd name="connsiteX0" fmla="*/ 105190 w 2337771"/>
              <a:gd name="connsiteY0" fmla="*/ 31 h 2094241"/>
              <a:gd name="connsiteX1" fmla="*/ 238713 w 2337771"/>
              <a:gd name="connsiteY1" fmla="*/ 71887 h 2094241"/>
              <a:gd name="connsiteX2" fmla="*/ 2337771 w 2337771"/>
              <a:gd name="connsiteY2" fmla="*/ 2094241 h 2094241"/>
              <a:gd name="connsiteX3" fmla="*/ 88746 w 2337771"/>
              <a:gd name="connsiteY3" fmla="*/ 2094241 h 2094241"/>
              <a:gd name="connsiteX4" fmla="*/ 69981 w 2337771"/>
              <a:gd name="connsiteY4" fmla="*/ 2058668 h 2094241"/>
              <a:gd name="connsiteX5" fmla="*/ 0 w 2337771"/>
              <a:gd name="connsiteY5" fmla="*/ 1757066 h 2094241"/>
              <a:gd name="connsiteX6" fmla="*/ 0 w 2337771"/>
              <a:gd name="connsiteY6" fmla="*/ 173456 h 2094241"/>
              <a:gd name="connsiteX7" fmla="*/ 105190 w 2337771"/>
              <a:gd name="connsiteY7" fmla="*/ 31 h 2094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37771" h="2094241">
                <a:moveTo>
                  <a:pt x="105190" y="31"/>
                </a:moveTo>
                <a:cubicBezTo>
                  <a:pt x="143285" y="992"/>
                  <a:pt x="189226" y="24342"/>
                  <a:pt x="238713" y="71887"/>
                </a:cubicBezTo>
                <a:lnTo>
                  <a:pt x="2337771" y="2094241"/>
                </a:lnTo>
                <a:lnTo>
                  <a:pt x="88746" y="2094241"/>
                </a:lnTo>
                <a:lnTo>
                  <a:pt x="69981" y="2058668"/>
                </a:lnTo>
                <a:cubicBezTo>
                  <a:pt x="26743" y="1957159"/>
                  <a:pt x="0" y="1848612"/>
                  <a:pt x="0" y="1757066"/>
                </a:cubicBezTo>
                <a:lnTo>
                  <a:pt x="0" y="173456"/>
                </a:lnTo>
                <a:cubicBezTo>
                  <a:pt x="0" y="59023"/>
                  <a:pt x="41698" y="-1570"/>
                  <a:pt x="105190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E30D08F-F788-58FD-84C1-092AC28946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3952" y="1223149"/>
            <a:ext cx="5904162" cy="50141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6" name="Slide Number Placeholder 5">
            <a:extLst>
              <a:ext uri="{FF2B5EF4-FFF2-40B4-BE49-F238E27FC236}">
                <a16:creationId xmlns:a16="http://schemas.microsoft.com/office/drawing/2014/main" id="{6522F757-6621-1CFE-338A-EC6FC4EEA0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73" name="Text Placeholder 272">
            <a:extLst>
              <a:ext uri="{FF2B5EF4-FFF2-40B4-BE49-F238E27FC236}">
                <a16:creationId xmlns:a16="http://schemas.microsoft.com/office/drawing/2014/main" id="{0A68684A-4D1B-CD2C-3510-FB09CCC7C1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71889"/>
            <a:ext cx="3008278" cy="4979012"/>
          </a:xfrm>
          <a:custGeom>
            <a:avLst/>
            <a:gdLst>
              <a:gd name="connsiteX0" fmla="*/ 2903087 w 3008278"/>
              <a:gd name="connsiteY0" fmla="*/ 31 h 4979012"/>
              <a:gd name="connsiteX1" fmla="*/ 3008278 w 3008278"/>
              <a:gd name="connsiteY1" fmla="*/ 173456 h 4979012"/>
              <a:gd name="connsiteX2" fmla="*/ 3008278 w 3008278"/>
              <a:gd name="connsiteY2" fmla="*/ 1757066 h 4979012"/>
              <a:gd name="connsiteX3" fmla="*/ 2769341 w 3008278"/>
              <a:gd name="connsiteY3" fmla="*/ 2318044 h 4979012"/>
              <a:gd name="connsiteX4" fmla="*/ 0 w 3008278"/>
              <a:gd name="connsiteY4" fmla="*/ 4979012 h 4979012"/>
              <a:gd name="connsiteX5" fmla="*/ 0 w 3008278"/>
              <a:gd name="connsiteY5" fmla="*/ 2740246 h 4979012"/>
              <a:gd name="connsiteX6" fmla="*/ 2769564 w 3008278"/>
              <a:gd name="connsiteY6" fmla="*/ 71887 h 4979012"/>
              <a:gd name="connsiteX7" fmla="*/ 2903087 w 3008278"/>
              <a:gd name="connsiteY7" fmla="*/ 31 h 4979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08278" h="4979012">
                <a:moveTo>
                  <a:pt x="2903087" y="31"/>
                </a:moveTo>
                <a:cubicBezTo>
                  <a:pt x="2966579" y="-1570"/>
                  <a:pt x="3008278" y="59023"/>
                  <a:pt x="3008278" y="173456"/>
                </a:cubicBezTo>
                <a:lnTo>
                  <a:pt x="3008278" y="1757066"/>
                </a:lnTo>
                <a:cubicBezTo>
                  <a:pt x="3008278" y="1940158"/>
                  <a:pt x="2901305" y="2191253"/>
                  <a:pt x="2769341" y="2318044"/>
                </a:cubicBezTo>
                <a:lnTo>
                  <a:pt x="0" y="4979012"/>
                </a:lnTo>
                <a:lnTo>
                  <a:pt x="0" y="2740246"/>
                </a:lnTo>
                <a:lnTo>
                  <a:pt x="2769564" y="71887"/>
                </a:lnTo>
                <a:cubicBezTo>
                  <a:pt x="2819051" y="24342"/>
                  <a:pt x="2864992" y="992"/>
                  <a:pt x="2903087" y="31"/>
                </a:cubicBez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anchor="ctr">
            <a:noAutofit/>
          </a:bodyPr>
          <a:lstStyle>
            <a:lvl1pPr>
              <a:defRPr sz="100">
                <a:solidFill>
                  <a:schemeClr val="accent2"/>
                </a:solidFill>
              </a:defRPr>
            </a:lvl1pPr>
            <a:lvl2pPr>
              <a:defRPr sz="100">
                <a:solidFill>
                  <a:schemeClr val="accent2"/>
                </a:solidFill>
              </a:defRPr>
            </a:lvl2pPr>
            <a:lvl3pPr>
              <a:defRPr sz="100">
                <a:solidFill>
                  <a:schemeClr val="accent2"/>
                </a:solidFill>
              </a:defRPr>
            </a:lvl3pPr>
            <a:lvl4pPr>
              <a:defRPr sz="100">
                <a:solidFill>
                  <a:schemeClr val="accent2"/>
                </a:solidFill>
              </a:defRPr>
            </a:lvl4pPr>
            <a:lvl5pPr algn="ctr">
              <a:defRPr sz="100">
                <a:solidFill>
                  <a:schemeClr val="accent2">
                    <a:alpha val="0"/>
                  </a:schemeClr>
                </a:solidFill>
              </a:defRPr>
            </a:lvl5pPr>
          </a:lstStyle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74" name="Text Placeholder 273">
            <a:extLst>
              <a:ext uri="{FF2B5EF4-FFF2-40B4-BE49-F238E27FC236}">
                <a16:creationId xmlns:a16="http://schemas.microsoft.com/office/drawing/2014/main" id="{9180577A-0F2A-DFC9-F5B4-E28B4EB68E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293095"/>
            <a:ext cx="1581031" cy="2395295"/>
          </a:xfrm>
          <a:custGeom>
            <a:avLst/>
            <a:gdLst>
              <a:gd name="connsiteX0" fmla="*/ 1994280 w 2056324"/>
              <a:gd name="connsiteY0" fmla="*/ 19 h 3115375"/>
              <a:gd name="connsiteX1" fmla="*/ 2056324 w 2056324"/>
              <a:gd name="connsiteY1" fmla="*/ 102309 h 3115375"/>
              <a:gd name="connsiteX2" fmla="*/ 2056324 w 2056324"/>
              <a:gd name="connsiteY2" fmla="*/ 1036357 h 3115375"/>
              <a:gd name="connsiteX3" fmla="*/ 1915394 w 2056324"/>
              <a:gd name="connsiteY3" fmla="*/ 1367234 h 3115375"/>
              <a:gd name="connsiteX4" fmla="*/ 140135 w 2056324"/>
              <a:gd name="connsiteY4" fmla="*/ 3073019 h 3115375"/>
              <a:gd name="connsiteX5" fmla="*/ 2 w 2056324"/>
              <a:gd name="connsiteY5" fmla="*/ 3012980 h 3115375"/>
              <a:gd name="connsiteX6" fmla="*/ 3723 w 2056324"/>
              <a:gd name="connsiteY6" fmla="*/ 2078928 h 3115375"/>
              <a:gd name="connsiteX7" fmla="*/ 145316 w 2056324"/>
              <a:gd name="connsiteY7" fmla="*/ 1747922 h 3115375"/>
              <a:gd name="connsiteX8" fmla="*/ 1915526 w 2056324"/>
              <a:gd name="connsiteY8" fmla="*/ 42401 h 3115375"/>
              <a:gd name="connsiteX9" fmla="*/ 1994280 w 2056324"/>
              <a:gd name="connsiteY9" fmla="*/ 19 h 311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56324" h="3115375">
                <a:moveTo>
                  <a:pt x="1994280" y="19"/>
                </a:moveTo>
                <a:cubicBezTo>
                  <a:pt x="2031729" y="-925"/>
                  <a:pt x="2056324" y="34814"/>
                  <a:pt x="2056324" y="102309"/>
                </a:cubicBezTo>
                <a:lnTo>
                  <a:pt x="2056324" y="1036357"/>
                </a:lnTo>
                <a:cubicBezTo>
                  <a:pt x="2056324" y="1144349"/>
                  <a:pt x="1993229" y="1292451"/>
                  <a:pt x="1915394" y="1367234"/>
                </a:cubicBezTo>
                <a:lnTo>
                  <a:pt x="140135" y="3073019"/>
                </a:lnTo>
                <a:cubicBezTo>
                  <a:pt x="62300" y="3147800"/>
                  <a:pt x="-397" y="3120969"/>
                  <a:pt x="2" y="3012980"/>
                </a:cubicBezTo>
                <a:lnTo>
                  <a:pt x="3723" y="2078928"/>
                </a:lnTo>
                <a:cubicBezTo>
                  <a:pt x="3723" y="1970939"/>
                  <a:pt x="67612" y="1822835"/>
                  <a:pt x="145316" y="1747922"/>
                </a:cubicBezTo>
                <a:lnTo>
                  <a:pt x="1915526" y="42401"/>
                </a:lnTo>
                <a:cubicBezTo>
                  <a:pt x="1944714" y="14358"/>
                  <a:pt x="1971811" y="586"/>
                  <a:pt x="1994280" y="1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accent4">
                    <a:alpha val="0"/>
                  </a:schemeClr>
                </a:solidFill>
              </a:defRPr>
            </a:lvl1pPr>
            <a:lvl2pPr>
              <a:defRPr sz="100">
                <a:solidFill>
                  <a:schemeClr val="accent4">
                    <a:alpha val="0"/>
                  </a:schemeClr>
                </a:solidFill>
              </a:defRPr>
            </a:lvl2pPr>
            <a:lvl3pPr>
              <a:defRPr sz="100">
                <a:solidFill>
                  <a:schemeClr val="accent4">
                    <a:alpha val="0"/>
                  </a:schemeClr>
                </a:solidFill>
              </a:defRPr>
            </a:lvl3pPr>
            <a:lvl4pPr>
              <a:defRPr sz="100">
                <a:solidFill>
                  <a:schemeClr val="accent4">
                    <a:alpha val="0"/>
                  </a:schemeClr>
                </a:solidFill>
              </a:defRPr>
            </a:lvl4pPr>
            <a:lvl5pPr>
              <a:defRPr sz="100">
                <a:solidFill>
                  <a:schemeClr val="accent4">
                    <a:alpha val="0"/>
                  </a:schemeClr>
                </a:solidFill>
              </a:defRPr>
            </a:lvl5pPr>
          </a:lstStyle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CE16DFF-A34B-DDDB-C64E-BC4807918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386" y="332657"/>
            <a:ext cx="5892296" cy="75669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39762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007926FA-F693-3EDC-38EE-91D43A83D4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7370656" cy="6858000"/>
          </a:xfrm>
          <a:custGeom>
            <a:avLst/>
            <a:gdLst>
              <a:gd name="connsiteX0" fmla="*/ 5928929 w 7370656"/>
              <a:gd name="connsiteY0" fmla="*/ 0 h 6858000"/>
              <a:gd name="connsiteX1" fmla="*/ 7370656 w 7370656"/>
              <a:gd name="connsiteY1" fmla="*/ 0 h 6858000"/>
              <a:gd name="connsiteX2" fmla="*/ 7370656 w 7370656"/>
              <a:gd name="connsiteY2" fmla="*/ 2905561 h 6858000"/>
              <a:gd name="connsiteX3" fmla="*/ 6834860 w 7370656"/>
              <a:gd name="connsiteY3" fmla="*/ 4163505 h 6858000"/>
              <a:gd name="connsiteX4" fmla="*/ 4030627 w 7370656"/>
              <a:gd name="connsiteY4" fmla="*/ 6858000 h 6858000"/>
              <a:gd name="connsiteX5" fmla="*/ 0 w 7370656"/>
              <a:gd name="connsiteY5" fmla="*/ 6858000 h 6858000"/>
              <a:gd name="connsiteX6" fmla="*/ 0 w 7370656"/>
              <a:gd name="connsiteY6" fmla="*/ 5726910 h 6858000"/>
              <a:gd name="connsiteX7" fmla="*/ 105302 w 7370656"/>
              <a:gd name="connsiteY7" fmla="*/ 561082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70656" h="6858000">
                <a:moveTo>
                  <a:pt x="5928929" y="0"/>
                </a:moveTo>
                <a:lnTo>
                  <a:pt x="7370656" y="0"/>
                </a:lnTo>
                <a:lnTo>
                  <a:pt x="7370656" y="2905561"/>
                </a:lnTo>
                <a:cubicBezTo>
                  <a:pt x="7370656" y="3316129"/>
                  <a:pt x="7130780" y="3879189"/>
                  <a:pt x="6834860" y="4163505"/>
                </a:cubicBezTo>
                <a:lnTo>
                  <a:pt x="4030627" y="6858000"/>
                </a:lnTo>
                <a:lnTo>
                  <a:pt x="0" y="6858000"/>
                </a:lnTo>
                <a:lnTo>
                  <a:pt x="0" y="5726910"/>
                </a:lnTo>
                <a:lnTo>
                  <a:pt x="105302" y="561082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9EADD5B2-CDC8-B9EB-21CC-54B8A6A467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38050" y="1645943"/>
            <a:ext cx="2055374" cy="3678282"/>
          </a:xfrm>
          <a:custGeom>
            <a:avLst/>
            <a:gdLst>
              <a:gd name="connsiteX0" fmla="*/ 1969581 w 2055374"/>
              <a:gd name="connsiteY0" fmla="*/ 26 h 3678282"/>
              <a:gd name="connsiteX1" fmla="*/ 2055374 w 2055374"/>
              <a:gd name="connsiteY1" fmla="*/ 141471 h 3678282"/>
              <a:gd name="connsiteX2" fmla="*/ 2055374 w 2055374"/>
              <a:gd name="connsiteY2" fmla="*/ 1433058 h 3678282"/>
              <a:gd name="connsiteX3" fmla="*/ 1860498 w 2055374"/>
              <a:gd name="connsiteY3" fmla="*/ 1890589 h 3678282"/>
              <a:gd name="connsiteX4" fmla="*/ 0 w 2055374"/>
              <a:gd name="connsiteY4" fmla="*/ 3678282 h 3678282"/>
              <a:gd name="connsiteX5" fmla="*/ 2142 w 2055374"/>
              <a:gd name="connsiteY5" fmla="*/ 3675624 h 3678282"/>
              <a:gd name="connsiteX6" fmla="*/ 151352 w 2055374"/>
              <a:gd name="connsiteY6" fmla="*/ 3220026 h 3678282"/>
              <a:gd name="connsiteX7" fmla="*/ 151352 w 2055374"/>
              <a:gd name="connsiteY7" fmla="*/ 1705498 h 3678282"/>
              <a:gd name="connsiteX8" fmla="*/ 1860680 w 2055374"/>
              <a:gd name="connsiteY8" fmla="*/ 58631 h 3678282"/>
              <a:gd name="connsiteX9" fmla="*/ 1969581 w 2055374"/>
              <a:gd name="connsiteY9" fmla="*/ 26 h 3678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55374" h="3678282">
                <a:moveTo>
                  <a:pt x="1969581" y="26"/>
                </a:moveTo>
                <a:cubicBezTo>
                  <a:pt x="2021365" y="-1279"/>
                  <a:pt x="2055374" y="48140"/>
                  <a:pt x="2055374" y="141471"/>
                </a:cubicBezTo>
                <a:lnTo>
                  <a:pt x="2055374" y="1433058"/>
                </a:lnTo>
                <a:cubicBezTo>
                  <a:pt x="2055374" y="1582387"/>
                  <a:pt x="1968128" y="1787180"/>
                  <a:pt x="1860498" y="1890589"/>
                </a:cubicBezTo>
                <a:lnTo>
                  <a:pt x="0" y="3678282"/>
                </a:lnTo>
                <a:lnTo>
                  <a:pt x="2142" y="3675624"/>
                </a:lnTo>
                <a:cubicBezTo>
                  <a:pt x="89828" y="3539948"/>
                  <a:pt x="151352" y="3360432"/>
                  <a:pt x="151352" y="3220026"/>
                </a:cubicBezTo>
                <a:lnTo>
                  <a:pt x="151352" y="1705498"/>
                </a:lnTo>
                <a:lnTo>
                  <a:pt x="1860680" y="58631"/>
                </a:lnTo>
                <a:cubicBezTo>
                  <a:pt x="1901042" y="19854"/>
                  <a:pt x="1938511" y="810"/>
                  <a:pt x="1969581" y="2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FD3E7CB8-8A21-265D-41A2-D3D9ED5483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37796" y="222434"/>
            <a:ext cx="2368832" cy="3588836"/>
          </a:xfrm>
          <a:custGeom>
            <a:avLst/>
            <a:gdLst>
              <a:gd name="connsiteX0" fmla="*/ 2297359 w 2368832"/>
              <a:gd name="connsiteY0" fmla="*/ 22 h 3588836"/>
              <a:gd name="connsiteX1" fmla="*/ 2368832 w 2368832"/>
              <a:gd name="connsiteY1" fmla="*/ 117857 h 3588836"/>
              <a:gd name="connsiteX2" fmla="*/ 2368832 w 2368832"/>
              <a:gd name="connsiteY2" fmla="*/ 1193858 h 3588836"/>
              <a:gd name="connsiteX3" fmla="*/ 2206483 w 2368832"/>
              <a:gd name="connsiteY3" fmla="*/ 1575021 h 3588836"/>
              <a:gd name="connsiteX4" fmla="*/ 161433 w 2368832"/>
              <a:gd name="connsiteY4" fmla="*/ 3540043 h 3588836"/>
              <a:gd name="connsiteX5" fmla="*/ 3 w 2368832"/>
              <a:gd name="connsiteY5" fmla="*/ 3470879 h 3588836"/>
              <a:gd name="connsiteX6" fmla="*/ 4289 w 2368832"/>
              <a:gd name="connsiteY6" fmla="*/ 2394875 h 3588836"/>
              <a:gd name="connsiteX7" fmla="*/ 167400 w 2368832"/>
              <a:gd name="connsiteY7" fmla="*/ 2013564 h 3588836"/>
              <a:gd name="connsiteX8" fmla="*/ 2206635 w 2368832"/>
              <a:gd name="connsiteY8" fmla="*/ 48845 h 3588836"/>
              <a:gd name="connsiteX9" fmla="*/ 2297359 w 2368832"/>
              <a:gd name="connsiteY9" fmla="*/ 22 h 358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68832" h="3588836">
                <a:moveTo>
                  <a:pt x="2297359" y="22"/>
                </a:moveTo>
                <a:cubicBezTo>
                  <a:pt x="2340499" y="-1066"/>
                  <a:pt x="2368832" y="40105"/>
                  <a:pt x="2368832" y="117857"/>
                </a:cubicBezTo>
                <a:lnTo>
                  <a:pt x="2368832" y="1193858"/>
                </a:lnTo>
                <a:cubicBezTo>
                  <a:pt x="2368832" y="1318262"/>
                  <a:pt x="2296148" y="1488872"/>
                  <a:pt x="2206483" y="1575021"/>
                </a:cubicBezTo>
                <a:lnTo>
                  <a:pt x="161433" y="3540043"/>
                </a:lnTo>
                <a:cubicBezTo>
                  <a:pt x="71768" y="3626189"/>
                  <a:pt x="-456" y="3595279"/>
                  <a:pt x="3" y="3470879"/>
                </a:cubicBezTo>
                <a:lnTo>
                  <a:pt x="4289" y="2394875"/>
                </a:lnTo>
                <a:cubicBezTo>
                  <a:pt x="4289" y="2270474"/>
                  <a:pt x="77887" y="2099861"/>
                  <a:pt x="167400" y="2013564"/>
                </a:cubicBezTo>
                <a:lnTo>
                  <a:pt x="2206635" y="48845"/>
                </a:lnTo>
                <a:cubicBezTo>
                  <a:pt x="2240260" y="16540"/>
                  <a:pt x="2271475" y="675"/>
                  <a:pt x="2297359" y="2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6FBAB1F-A836-3B29-E4DD-7F89297F3B8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8216" y="1160138"/>
            <a:ext cx="3429951" cy="5196454"/>
          </a:xfrm>
          <a:custGeom>
            <a:avLst/>
            <a:gdLst>
              <a:gd name="connsiteX0" fmla="*/ 3326462 w 3429951"/>
              <a:gd name="connsiteY0" fmla="*/ 31 h 5196454"/>
              <a:gd name="connsiteX1" fmla="*/ 3429951 w 3429951"/>
              <a:gd name="connsiteY1" fmla="*/ 170650 h 5196454"/>
              <a:gd name="connsiteX2" fmla="*/ 3429951 w 3429951"/>
              <a:gd name="connsiteY2" fmla="*/ 1728646 h 5196454"/>
              <a:gd name="connsiteX3" fmla="*/ 3194878 w 3429951"/>
              <a:gd name="connsiteY3" fmla="*/ 2280550 h 5196454"/>
              <a:gd name="connsiteX4" fmla="*/ 233746 w 3429951"/>
              <a:gd name="connsiteY4" fmla="*/ 5125804 h 5196454"/>
              <a:gd name="connsiteX5" fmla="*/ 4 w 3429951"/>
              <a:gd name="connsiteY5" fmla="*/ 5025658 h 5196454"/>
              <a:gd name="connsiteX6" fmla="*/ 6209 w 3429951"/>
              <a:gd name="connsiteY6" fmla="*/ 3467657 h 5196454"/>
              <a:gd name="connsiteX7" fmla="*/ 242387 w 3429951"/>
              <a:gd name="connsiteY7" fmla="*/ 2915538 h 5196454"/>
              <a:gd name="connsiteX8" fmla="*/ 3195099 w 3429951"/>
              <a:gd name="connsiteY8" fmla="*/ 70724 h 5196454"/>
              <a:gd name="connsiteX9" fmla="*/ 3326462 w 3429951"/>
              <a:gd name="connsiteY9" fmla="*/ 31 h 5196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29951" h="5196454">
                <a:moveTo>
                  <a:pt x="3326462" y="31"/>
                </a:moveTo>
                <a:cubicBezTo>
                  <a:pt x="3388927" y="-1544"/>
                  <a:pt x="3429951" y="58068"/>
                  <a:pt x="3429951" y="170650"/>
                </a:cubicBezTo>
                <a:lnTo>
                  <a:pt x="3429951" y="1728646"/>
                </a:lnTo>
                <a:cubicBezTo>
                  <a:pt x="3429951" y="1908777"/>
                  <a:pt x="3324709" y="2155810"/>
                  <a:pt x="3194878" y="2280550"/>
                </a:cubicBezTo>
                <a:lnTo>
                  <a:pt x="233746" y="5125804"/>
                </a:lnTo>
                <a:cubicBezTo>
                  <a:pt x="103916" y="5250539"/>
                  <a:pt x="-661" y="5205784"/>
                  <a:pt x="4" y="5025658"/>
                </a:cubicBezTo>
                <a:lnTo>
                  <a:pt x="6209" y="3467657"/>
                </a:lnTo>
                <a:cubicBezTo>
                  <a:pt x="6209" y="3287531"/>
                  <a:pt x="112777" y="3040493"/>
                  <a:pt x="242387" y="2915538"/>
                </a:cubicBezTo>
                <a:lnTo>
                  <a:pt x="3195099" y="70724"/>
                </a:lnTo>
                <a:cubicBezTo>
                  <a:pt x="3243785" y="23948"/>
                  <a:pt x="3288983" y="976"/>
                  <a:pt x="3326462" y="31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3835834-19A1-FEEB-9B2F-2793DE60A23C}"/>
              </a:ext>
            </a:extLst>
          </p:cNvPr>
          <p:cNvSpPr/>
          <p:nvPr userDrawn="1"/>
        </p:nvSpPr>
        <p:spPr>
          <a:xfrm>
            <a:off x="0" y="3069411"/>
            <a:ext cx="589402" cy="2701735"/>
          </a:xfrm>
          <a:custGeom>
            <a:avLst/>
            <a:gdLst>
              <a:gd name="connsiteX0" fmla="*/ 481847 w 589402"/>
              <a:gd name="connsiteY0" fmla="*/ 32 h 2701735"/>
              <a:gd name="connsiteX1" fmla="*/ 589402 w 589402"/>
              <a:gd name="connsiteY1" fmla="*/ 177354 h 2701735"/>
              <a:gd name="connsiteX2" fmla="*/ 589402 w 589402"/>
              <a:gd name="connsiteY2" fmla="*/ 1796558 h 2701735"/>
              <a:gd name="connsiteX3" fmla="*/ 345095 w 589402"/>
              <a:gd name="connsiteY3" fmla="*/ 2370144 h 2701735"/>
              <a:gd name="connsiteX4" fmla="*/ 0 w 589402"/>
              <a:gd name="connsiteY4" fmla="*/ 2701735 h 2701735"/>
              <a:gd name="connsiteX5" fmla="*/ 0 w 589402"/>
              <a:gd name="connsiteY5" fmla="*/ 406207 h 2701735"/>
              <a:gd name="connsiteX6" fmla="*/ 345324 w 589402"/>
              <a:gd name="connsiteY6" fmla="*/ 73502 h 2701735"/>
              <a:gd name="connsiteX7" fmla="*/ 481847 w 589402"/>
              <a:gd name="connsiteY7" fmla="*/ 32 h 270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9402" h="2701735">
                <a:moveTo>
                  <a:pt x="481847" y="32"/>
                </a:moveTo>
                <a:cubicBezTo>
                  <a:pt x="546766" y="-1605"/>
                  <a:pt x="589402" y="60350"/>
                  <a:pt x="589402" y="177354"/>
                </a:cubicBezTo>
                <a:lnTo>
                  <a:pt x="589402" y="1796558"/>
                </a:lnTo>
                <a:cubicBezTo>
                  <a:pt x="589402" y="1983765"/>
                  <a:pt x="480026" y="2240504"/>
                  <a:pt x="345095" y="2370144"/>
                </a:cubicBezTo>
                <a:lnTo>
                  <a:pt x="0" y="2701735"/>
                </a:lnTo>
                <a:lnTo>
                  <a:pt x="0" y="406207"/>
                </a:lnTo>
                <a:lnTo>
                  <a:pt x="345324" y="73502"/>
                </a:lnTo>
                <a:cubicBezTo>
                  <a:pt x="395923" y="24889"/>
                  <a:pt x="442896" y="1014"/>
                  <a:pt x="481847" y="32"/>
                </a:cubicBezTo>
                <a:close/>
              </a:path>
            </a:pathLst>
          </a:custGeom>
          <a:solidFill>
            <a:srgbClr val="750D68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27" name="Title 1">
            <a:extLst>
              <a:ext uri="{FF2B5EF4-FFF2-40B4-BE49-F238E27FC236}">
                <a16:creationId xmlns:a16="http://schemas.microsoft.com/office/drawing/2014/main" id="{4B5A252A-022F-6475-E63C-40D636079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/>
              <a:t>This project is financed by the European Union</a:t>
            </a:r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4CA45CA3-A343-CBEE-CC63-3B6DBA7621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71665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rgbClr val="38B6AB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7E5838E8-6D08-6B46-D841-497CB89494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664036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chemeClr val="accent3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822016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 nodePh="1">
                                  <p:stCondLst>
                                    <p:cond delay="100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 nodePh="1">
                                  <p:stCondLst>
                                    <p:cond delay="125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1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0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50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2" grpId="0" animBg="1"/>
      <p:bldP spid="31" grpId="0" animBg="1"/>
      <p:bldP spid="34" grpId="0" animBg="1"/>
      <p:bldP spid="18" grpId="0" animBg="1"/>
      <p:bldP spid="127" grpId="0"/>
      <p:bldP spid="130" grpId="0" uiExpand="1" build="p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4" decel="100000" fill="hold" nodeType="withEffect" nodePh="1">
                  <p:stCondLst>
                    <p:cond delay="10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uiExpand="1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 nodePh="1">
                  <p:stCondLst>
                    <p:cond delay="12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16A59692-18AC-0E4A-B387-27824A2ADDF1}"/>
              </a:ext>
            </a:extLst>
          </p:cNvPr>
          <p:cNvSpPr/>
          <p:nvPr userDrawn="1"/>
        </p:nvSpPr>
        <p:spPr>
          <a:xfrm flipV="1">
            <a:off x="2553515" y="1903682"/>
            <a:ext cx="3400879" cy="4954318"/>
          </a:xfrm>
          <a:custGeom>
            <a:avLst/>
            <a:gdLst>
              <a:gd name="connsiteX0" fmla="*/ 101690 w 3400879"/>
              <a:gd name="connsiteY0" fmla="*/ 4954291 h 4954318"/>
              <a:gd name="connsiteX1" fmla="*/ 231765 w 3400879"/>
              <a:gd name="connsiteY1" fmla="*/ 4884267 h 4954318"/>
              <a:gd name="connsiteX2" fmla="*/ 3167799 w 3400879"/>
              <a:gd name="connsiteY2" fmla="*/ 2063128 h 4954318"/>
              <a:gd name="connsiteX3" fmla="*/ 3400879 w 3400879"/>
              <a:gd name="connsiteY3" fmla="*/ 1515903 h 4954318"/>
              <a:gd name="connsiteX4" fmla="*/ 3400879 w 3400879"/>
              <a:gd name="connsiteY4" fmla="*/ 0 h 4954318"/>
              <a:gd name="connsiteX5" fmla="*/ 3035197 w 3400879"/>
              <a:gd name="connsiteY5" fmla="*/ 0 h 4954318"/>
              <a:gd name="connsiteX6" fmla="*/ 240333 w 3400879"/>
              <a:gd name="connsiteY6" fmla="*/ 2692735 h 4954318"/>
              <a:gd name="connsiteX7" fmla="*/ 6157 w 3400879"/>
              <a:gd name="connsiteY7" fmla="*/ 3240174 h 4954318"/>
              <a:gd name="connsiteX8" fmla="*/ 4 w 3400879"/>
              <a:gd name="connsiteY8" fmla="*/ 4784970 h 4954318"/>
              <a:gd name="connsiteX9" fmla="*/ 101690 w 3400879"/>
              <a:gd name="connsiteY9" fmla="*/ 4954291 h 495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4954318">
                <a:moveTo>
                  <a:pt x="101690" y="4954291"/>
                </a:moveTo>
                <a:cubicBezTo>
                  <a:pt x="138739" y="4953393"/>
                  <a:pt x="183492" y="4930646"/>
                  <a:pt x="231765" y="4884267"/>
                </a:cubicBezTo>
                <a:lnTo>
                  <a:pt x="3167799" y="2063128"/>
                </a:lnTo>
                <a:cubicBezTo>
                  <a:pt x="3296529" y="1939446"/>
                  <a:pt x="3400879" y="1694506"/>
                  <a:pt x="3400879" y="1515903"/>
                </a:cubicBezTo>
                <a:lnTo>
                  <a:pt x="3400879" y="0"/>
                </a:lnTo>
                <a:lnTo>
                  <a:pt x="3035197" y="0"/>
                </a:lnTo>
                <a:lnTo>
                  <a:pt x="240333" y="2692735"/>
                </a:lnTo>
                <a:cubicBezTo>
                  <a:pt x="111821" y="2816630"/>
                  <a:pt x="6157" y="3061575"/>
                  <a:pt x="6157" y="3240174"/>
                </a:cubicBezTo>
                <a:lnTo>
                  <a:pt x="4" y="4784970"/>
                </a:lnTo>
                <a:cubicBezTo>
                  <a:pt x="-408" y="4896594"/>
                  <a:pt x="39942" y="4955787"/>
                  <a:pt x="101690" y="4954291"/>
                </a:cubicBezTo>
                <a:close/>
              </a:path>
            </a:pathLst>
          </a:custGeom>
          <a:solidFill>
            <a:srgbClr val="27257A">
              <a:alpha val="4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9D84DB3B-EE16-75C2-709B-5045D24BD3D2}"/>
              </a:ext>
            </a:extLst>
          </p:cNvPr>
          <p:cNvSpPr/>
          <p:nvPr userDrawn="1"/>
        </p:nvSpPr>
        <p:spPr>
          <a:xfrm>
            <a:off x="469027" y="0"/>
            <a:ext cx="7499182" cy="6858000"/>
          </a:xfrm>
          <a:custGeom>
            <a:avLst/>
            <a:gdLst>
              <a:gd name="connsiteX0" fmla="*/ 6872385 w 7503995"/>
              <a:gd name="connsiteY0" fmla="*/ 0 h 6845197"/>
              <a:gd name="connsiteX1" fmla="*/ 7494744 w 7503995"/>
              <a:gd name="connsiteY1" fmla="*/ 0 h 6845197"/>
              <a:gd name="connsiteX2" fmla="*/ 7499783 w 7503995"/>
              <a:gd name="connsiteY2" fmla="*/ 31741 h 6845197"/>
              <a:gd name="connsiteX3" fmla="*/ 7503995 w 7503995"/>
              <a:gd name="connsiteY3" fmla="*/ 120512 h 6845197"/>
              <a:gd name="connsiteX4" fmla="*/ 7503995 w 7503995"/>
              <a:gd name="connsiteY4" fmla="*/ 3602593 h 6845197"/>
              <a:gd name="connsiteX5" fmla="*/ 6978614 w 7503995"/>
              <a:gd name="connsiteY5" fmla="*/ 4836084 h 6845197"/>
              <a:gd name="connsiteX6" fmla="*/ 4887676 w 7503995"/>
              <a:gd name="connsiteY6" fmla="*/ 6845197 h 6845197"/>
              <a:gd name="connsiteX7" fmla="*/ 0 w 7503995"/>
              <a:gd name="connsiteY7" fmla="*/ 6845197 h 6845197"/>
              <a:gd name="connsiteX8" fmla="*/ 7318 w 7503995"/>
              <a:gd name="connsiteY8" fmla="*/ 6826013 h 6845197"/>
              <a:gd name="connsiteX9" fmla="*/ 379872 w 7503995"/>
              <a:gd name="connsiteY9" fmla="*/ 6255267 h 6845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503995" h="6845197">
                <a:moveTo>
                  <a:pt x="6872385" y="0"/>
                </a:moveTo>
                <a:lnTo>
                  <a:pt x="7494744" y="0"/>
                </a:lnTo>
                <a:lnTo>
                  <a:pt x="7499783" y="31741"/>
                </a:lnTo>
                <a:cubicBezTo>
                  <a:pt x="7502563" y="59458"/>
                  <a:pt x="7503995" y="89060"/>
                  <a:pt x="7503995" y="120512"/>
                </a:cubicBezTo>
                <a:lnTo>
                  <a:pt x="7503995" y="3602593"/>
                </a:lnTo>
                <a:cubicBezTo>
                  <a:pt x="7503995" y="4005180"/>
                  <a:pt x="7268781" y="4557294"/>
                  <a:pt x="6978614" y="4836084"/>
                </a:cubicBezTo>
                <a:lnTo>
                  <a:pt x="4887676" y="6845197"/>
                </a:lnTo>
                <a:lnTo>
                  <a:pt x="0" y="6845197"/>
                </a:lnTo>
                <a:lnTo>
                  <a:pt x="7318" y="6826013"/>
                </a:lnTo>
                <a:cubicBezTo>
                  <a:pt x="103071" y="6602751"/>
                  <a:pt x="235034" y="6394902"/>
                  <a:pt x="379872" y="6255267"/>
                </a:cubicBezTo>
                <a:close/>
              </a:path>
            </a:pathLst>
          </a:custGeom>
          <a:solidFill>
            <a:srgbClr val="00A070">
              <a:alpha val="2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F76C648E-DF52-0BE6-F84E-068DC417EE92}"/>
              </a:ext>
            </a:extLst>
          </p:cNvPr>
          <p:cNvSpPr/>
          <p:nvPr userDrawn="1"/>
        </p:nvSpPr>
        <p:spPr>
          <a:xfrm>
            <a:off x="0" y="2853346"/>
            <a:ext cx="3001952" cy="4004655"/>
          </a:xfrm>
          <a:custGeom>
            <a:avLst/>
            <a:gdLst>
              <a:gd name="connsiteX0" fmla="*/ 2904183 w 3001952"/>
              <a:gd name="connsiteY0" fmla="*/ 29 h 4004655"/>
              <a:gd name="connsiteX1" fmla="*/ 3001952 w 3001952"/>
              <a:gd name="connsiteY1" fmla="*/ 161218 h 4004655"/>
              <a:gd name="connsiteX2" fmla="*/ 3001952 w 3001952"/>
              <a:gd name="connsiteY2" fmla="*/ 1633097 h 4004655"/>
              <a:gd name="connsiteX3" fmla="*/ 2779873 w 3001952"/>
              <a:gd name="connsiteY3" fmla="*/ 2154495 h 4004655"/>
              <a:gd name="connsiteX4" fmla="*/ 854363 w 3001952"/>
              <a:gd name="connsiteY4" fmla="*/ 4004655 h 4004655"/>
              <a:gd name="connsiteX5" fmla="*/ 0 w 3001952"/>
              <a:gd name="connsiteY5" fmla="*/ 4004655 h 4004655"/>
              <a:gd name="connsiteX6" fmla="*/ 0 w 3001952"/>
              <a:gd name="connsiteY6" fmla="*/ 2745307 h 4004655"/>
              <a:gd name="connsiteX7" fmla="*/ 2780081 w 3001952"/>
              <a:gd name="connsiteY7" fmla="*/ 66815 h 4004655"/>
              <a:gd name="connsiteX8" fmla="*/ 2904183 w 3001952"/>
              <a:gd name="connsiteY8" fmla="*/ 29 h 4004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01952" h="4004655">
                <a:moveTo>
                  <a:pt x="2904183" y="29"/>
                </a:moveTo>
                <a:cubicBezTo>
                  <a:pt x="2963196" y="-1459"/>
                  <a:pt x="3001952" y="54859"/>
                  <a:pt x="3001952" y="161218"/>
                </a:cubicBezTo>
                <a:lnTo>
                  <a:pt x="3001952" y="1633097"/>
                </a:lnTo>
                <a:cubicBezTo>
                  <a:pt x="3001952" y="1803271"/>
                  <a:pt x="2902527" y="2036650"/>
                  <a:pt x="2779873" y="2154495"/>
                </a:cubicBezTo>
                <a:lnTo>
                  <a:pt x="854363" y="4004655"/>
                </a:lnTo>
                <a:lnTo>
                  <a:pt x="0" y="4004655"/>
                </a:lnTo>
                <a:lnTo>
                  <a:pt x="0" y="2745307"/>
                </a:lnTo>
                <a:lnTo>
                  <a:pt x="2780081" y="66815"/>
                </a:lnTo>
                <a:cubicBezTo>
                  <a:pt x="2826077" y="22625"/>
                  <a:pt x="2868777" y="922"/>
                  <a:pt x="2904183" y="29"/>
                </a:cubicBezTo>
                <a:close/>
              </a:path>
            </a:pathLst>
          </a:custGeom>
          <a:solidFill>
            <a:schemeClr val="accent4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70CAD6CE-C706-1ADE-7266-1D793CECED7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891962"/>
            <a:ext cx="854789" cy="2883102"/>
          </a:xfrm>
          <a:custGeom>
            <a:avLst/>
            <a:gdLst>
              <a:gd name="connsiteX0" fmla="*/ 750943 w 854789"/>
              <a:gd name="connsiteY0" fmla="*/ 31 h 2883102"/>
              <a:gd name="connsiteX1" fmla="*/ 854789 w 854789"/>
              <a:gd name="connsiteY1" fmla="*/ 171239 h 2883102"/>
              <a:gd name="connsiteX2" fmla="*/ 854789 w 854789"/>
              <a:gd name="connsiteY2" fmla="*/ 1734608 h 2883102"/>
              <a:gd name="connsiteX3" fmla="*/ 618906 w 854789"/>
              <a:gd name="connsiteY3" fmla="*/ 2288415 h 2883102"/>
              <a:gd name="connsiteX4" fmla="*/ 0 w 854789"/>
              <a:gd name="connsiteY4" fmla="*/ 2883102 h 2883102"/>
              <a:gd name="connsiteX5" fmla="*/ 0 w 854789"/>
              <a:gd name="connsiteY5" fmla="*/ 667471 h 2883102"/>
              <a:gd name="connsiteX6" fmla="*/ 619127 w 854789"/>
              <a:gd name="connsiteY6" fmla="*/ 70968 h 2883102"/>
              <a:gd name="connsiteX7" fmla="*/ 750943 w 854789"/>
              <a:gd name="connsiteY7" fmla="*/ 31 h 2883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4789" h="2883102">
                <a:moveTo>
                  <a:pt x="750943" y="31"/>
                </a:moveTo>
                <a:cubicBezTo>
                  <a:pt x="813623" y="-1549"/>
                  <a:pt x="854789" y="58269"/>
                  <a:pt x="854789" y="171239"/>
                </a:cubicBezTo>
                <a:lnTo>
                  <a:pt x="854789" y="1734608"/>
                </a:lnTo>
                <a:cubicBezTo>
                  <a:pt x="854789" y="1915360"/>
                  <a:pt x="749184" y="2163245"/>
                  <a:pt x="618906" y="2288415"/>
                </a:cubicBezTo>
                <a:lnTo>
                  <a:pt x="0" y="2883102"/>
                </a:lnTo>
                <a:lnTo>
                  <a:pt x="0" y="667471"/>
                </a:lnTo>
                <a:lnTo>
                  <a:pt x="619127" y="70968"/>
                </a:lnTo>
                <a:cubicBezTo>
                  <a:pt x="667981" y="24031"/>
                  <a:pt x="713335" y="980"/>
                  <a:pt x="750943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450AB378-581F-F9A8-4147-4DFDEF2965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11588" y="2257874"/>
            <a:ext cx="3440011" cy="4600126"/>
          </a:xfrm>
          <a:custGeom>
            <a:avLst/>
            <a:gdLst>
              <a:gd name="connsiteX0" fmla="*/ 3336165 w 3440011"/>
              <a:gd name="connsiteY0" fmla="*/ 31 h 4600126"/>
              <a:gd name="connsiteX1" fmla="*/ 3440011 w 3440011"/>
              <a:gd name="connsiteY1" fmla="*/ 171239 h 4600126"/>
              <a:gd name="connsiteX2" fmla="*/ 3440011 w 3440011"/>
              <a:gd name="connsiteY2" fmla="*/ 1734608 h 4600126"/>
              <a:gd name="connsiteX3" fmla="*/ 3204128 w 3440011"/>
              <a:gd name="connsiteY3" fmla="*/ 2288415 h 4600126"/>
              <a:gd name="connsiteX4" fmla="*/ 798269 w 3440011"/>
              <a:gd name="connsiteY4" fmla="*/ 4600126 h 4600126"/>
              <a:gd name="connsiteX5" fmla="*/ 0 w 3440011"/>
              <a:gd name="connsiteY5" fmla="*/ 4600126 h 4600126"/>
              <a:gd name="connsiteX6" fmla="*/ 4463 w 3440011"/>
              <a:gd name="connsiteY6" fmla="*/ 3479617 h 4600126"/>
              <a:gd name="connsiteX7" fmla="*/ 241455 w 3440011"/>
              <a:gd name="connsiteY7" fmla="*/ 2925593 h 4600126"/>
              <a:gd name="connsiteX8" fmla="*/ 3204349 w 3440011"/>
              <a:gd name="connsiteY8" fmla="*/ 70968 h 4600126"/>
              <a:gd name="connsiteX9" fmla="*/ 3336165 w 3440011"/>
              <a:gd name="connsiteY9" fmla="*/ 31 h 4600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40011" h="4600126">
                <a:moveTo>
                  <a:pt x="3336165" y="31"/>
                </a:moveTo>
                <a:cubicBezTo>
                  <a:pt x="3398846" y="-1549"/>
                  <a:pt x="3440011" y="58269"/>
                  <a:pt x="3440011" y="171239"/>
                </a:cubicBezTo>
                <a:lnTo>
                  <a:pt x="3440011" y="1734608"/>
                </a:lnTo>
                <a:cubicBezTo>
                  <a:pt x="3440011" y="1915360"/>
                  <a:pt x="3334406" y="2163245"/>
                  <a:pt x="3204128" y="2288415"/>
                </a:cubicBezTo>
                <a:lnTo>
                  <a:pt x="798269" y="4600126"/>
                </a:lnTo>
                <a:lnTo>
                  <a:pt x="0" y="4600126"/>
                </a:lnTo>
                <a:lnTo>
                  <a:pt x="4463" y="3479617"/>
                </a:lnTo>
                <a:cubicBezTo>
                  <a:pt x="4463" y="3298869"/>
                  <a:pt x="111398" y="3050979"/>
                  <a:pt x="241455" y="2925593"/>
                </a:cubicBezTo>
                <a:lnTo>
                  <a:pt x="3204349" y="70968"/>
                </a:lnTo>
                <a:cubicBezTo>
                  <a:pt x="3253204" y="24031"/>
                  <a:pt x="3298557" y="980"/>
                  <a:pt x="3336165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D3792340-32BE-88F6-ACE3-36C759D08793}"/>
              </a:ext>
            </a:extLst>
          </p:cNvPr>
          <p:cNvSpPr/>
          <p:nvPr userDrawn="1"/>
        </p:nvSpPr>
        <p:spPr>
          <a:xfrm flipH="1" flipV="1">
            <a:off x="5086440" y="2704513"/>
            <a:ext cx="3746773" cy="4153487"/>
          </a:xfrm>
          <a:custGeom>
            <a:avLst/>
            <a:gdLst>
              <a:gd name="connsiteX0" fmla="*/ 101690 w 3400879"/>
              <a:gd name="connsiteY0" fmla="*/ 3770019 h 3770046"/>
              <a:gd name="connsiteX1" fmla="*/ 4 w 3400879"/>
              <a:gd name="connsiteY1" fmla="*/ 3600697 h 3770046"/>
              <a:gd name="connsiteX2" fmla="*/ 6157 w 3400879"/>
              <a:gd name="connsiteY2" fmla="*/ 2055902 h 3770046"/>
              <a:gd name="connsiteX3" fmla="*/ 240333 w 3400879"/>
              <a:gd name="connsiteY3" fmla="*/ 1508463 h 3770046"/>
              <a:gd name="connsiteX4" fmla="*/ 1806008 w 3400879"/>
              <a:gd name="connsiteY4" fmla="*/ 0 h 3770046"/>
              <a:gd name="connsiteX5" fmla="*/ 3400879 w 3400879"/>
              <a:gd name="connsiteY5" fmla="*/ 0 h 3770046"/>
              <a:gd name="connsiteX6" fmla="*/ 3400879 w 3400879"/>
              <a:gd name="connsiteY6" fmla="*/ 331631 h 3770046"/>
              <a:gd name="connsiteX7" fmla="*/ 3167799 w 3400879"/>
              <a:gd name="connsiteY7" fmla="*/ 878856 h 3770046"/>
              <a:gd name="connsiteX8" fmla="*/ 231765 w 3400879"/>
              <a:gd name="connsiteY8" fmla="*/ 3699995 h 3770046"/>
              <a:gd name="connsiteX9" fmla="*/ 101690 w 3400879"/>
              <a:gd name="connsiteY9" fmla="*/ 3770019 h 3770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3770046">
                <a:moveTo>
                  <a:pt x="101690" y="3770019"/>
                </a:moveTo>
                <a:cubicBezTo>
                  <a:pt x="39942" y="3771515"/>
                  <a:pt x="-408" y="3712322"/>
                  <a:pt x="4" y="3600697"/>
                </a:cubicBezTo>
                <a:lnTo>
                  <a:pt x="6157" y="2055902"/>
                </a:lnTo>
                <a:cubicBezTo>
                  <a:pt x="6157" y="1877303"/>
                  <a:pt x="111821" y="1632358"/>
                  <a:pt x="240333" y="1508463"/>
                </a:cubicBezTo>
                <a:lnTo>
                  <a:pt x="1806008" y="0"/>
                </a:lnTo>
                <a:lnTo>
                  <a:pt x="3400879" y="0"/>
                </a:lnTo>
                <a:lnTo>
                  <a:pt x="3400879" y="331631"/>
                </a:lnTo>
                <a:cubicBezTo>
                  <a:pt x="3400879" y="510234"/>
                  <a:pt x="3296529" y="755174"/>
                  <a:pt x="3167799" y="878856"/>
                </a:cubicBezTo>
                <a:lnTo>
                  <a:pt x="231765" y="3699995"/>
                </a:lnTo>
                <a:cubicBezTo>
                  <a:pt x="183491" y="3746374"/>
                  <a:pt x="138739" y="3769121"/>
                  <a:pt x="101690" y="3770019"/>
                </a:cubicBezTo>
                <a:close/>
              </a:path>
            </a:pathLst>
          </a:custGeom>
          <a:solidFill>
            <a:schemeClr val="accent4">
              <a:alpha val="37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94DF9C5-1ACE-4653-DD2A-168090968222}"/>
              </a:ext>
            </a:extLst>
          </p:cNvPr>
          <p:cNvSpPr/>
          <p:nvPr userDrawn="1"/>
        </p:nvSpPr>
        <p:spPr>
          <a:xfrm flipV="1">
            <a:off x="5998219" y="3857193"/>
            <a:ext cx="3263724" cy="3013611"/>
          </a:xfrm>
          <a:custGeom>
            <a:avLst/>
            <a:gdLst>
              <a:gd name="connsiteX0" fmla="*/ 101690 w 3263724"/>
              <a:gd name="connsiteY0" fmla="*/ 3013584 h 3013611"/>
              <a:gd name="connsiteX1" fmla="*/ 231765 w 3263724"/>
              <a:gd name="connsiteY1" fmla="*/ 2943560 h 3013611"/>
              <a:gd name="connsiteX2" fmla="*/ 3167799 w 3263724"/>
              <a:gd name="connsiteY2" fmla="*/ 122421 h 3013611"/>
              <a:gd name="connsiteX3" fmla="*/ 3258526 w 3263724"/>
              <a:gd name="connsiteY3" fmla="*/ 9855 h 3013611"/>
              <a:gd name="connsiteX4" fmla="*/ 3263724 w 3263724"/>
              <a:gd name="connsiteY4" fmla="*/ 0 h 3013611"/>
              <a:gd name="connsiteX5" fmla="*/ 1020884 w 3263724"/>
              <a:gd name="connsiteY5" fmla="*/ 0 h 3013611"/>
              <a:gd name="connsiteX6" fmla="*/ 240333 w 3263724"/>
              <a:gd name="connsiteY6" fmla="*/ 752028 h 3013611"/>
              <a:gd name="connsiteX7" fmla="*/ 6157 w 3263724"/>
              <a:gd name="connsiteY7" fmla="*/ 1299467 h 3013611"/>
              <a:gd name="connsiteX8" fmla="*/ 4 w 3263724"/>
              <a:gd name="connsiteY8" fmla="*/ 2844263 h 3013611"/>
              <a:gd name="connsiteX9" fmla="*/ 101690 w 3263724"/>
              <a:gd name="connsiteY9" fmla="*/ 3013584 h 3013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63724" h="3013611">
                <a:moveTo>
                  <a:pt x="101690" y="3013584"/>
                </a:moveTo>
                <a:cubicBezTo>
                  <a:pt x="138739" y="3012686"/>
                  <a:pt x="183492" y="2989939"/>
                  <a:pt x="231765" y="2943560"/>
                </a:cubicBezTo>
                <a:lnTo>
                  <a:pt x="3167799" y="122421"/>
                </a:lnTo>
                <a:cubicBezTo>
                  <a:pt x="3199981" y="91501"/>
                  <a:pt x="3230640" y="53002"/>
                  <a:pt x="3258526" y="9855"/>
                </a:cubicBezTo>
                <a:lnTo>
                  <a:pt x="3263724" y="0"/>
                </a:lnTo>
                <a:lnTo>
                  <a:pt x="1020884" y="0"/>
                </a:lnTo>
                <a:lnTo>
                  <a:pt x="240333" y="752028"/>
                </a:lnTo>
                <a:cubicBezTo>
                  <a:pt x="111821" y="875923"/>
                  <a:pt x="6157" y="1120868"/>
                  <a:pt x="6157" y="1299467"/>
                </a:cubicBezTo>
                <a:lnTo>
                  <a:pt x="4" y="2844263"/>
                </a:lnTo>
                <a:cubicBezTo>
                  <a:pt x="-408" y="2955887"/>
                  <a:pt x="39942" y="3015080"/>
                  <a:pt x="101690" y="3013584"/>
                </a:cubicBezTo>
                <a:close/>
              </a:path>
            </a:pathLst>
          </a:custGeom>
          <a:solidFill>
            <a:srgbClr val="00A070">
              <a:alpha val="3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E6E9FE-8B81-CF95-8FC4-107CC12139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/>
              <a:t>This project is financed by the European Union</a:t>
            </a:r>
          </a:p>
        </p:txBody>
      </p:sp>
    </p:spTree>
    <p:extLst>
      <p:ext uri="{BB962C8B-B14F-4D97-AF65-F5344CB8AC3E}">
        <p14:creationId xmlns:p14="http://schemas.microsoft.com/office/powerpoint/2010/main" val="39005605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6" grpId="0" animBg="1"/>
      <p:bldP spid="41" grpId="0" animBg="1"/>
      <p:bldP spid="25" grpId="0" animBg="1"/>
      <p:bldP spid="26" grpId="0" animBg="1"/>
      <p:bldP spid="44" grpId="0" animBg="1"/>
      <p:bldP spid="49" grpId="0" animBg="1"/>
      <p:bldP spid="2" grpId="0"/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Picture Placeholder 170">
            <a:extLst>
              <a:ext uri="{FF2B5EF4-FFF2-40B4-BE49-F238E27FC236}">
                <a16:creationId xmlns:a16="http://schemas.microsoft.com/office/drawing/2014/main" id="{E39566F6-E67C-A855-340C-601E04B8FC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2468992" cy="4189512"/>
          </a:xfrm>
          <a:custGeom>
            <a:avLst/>
            <a:gdLst>
              <a:gd name="connsiteX0" fmla="*/ 2023284 w 2468992"/>
              <a:gd name="connsiteY0" fmla="*/ 0 h 4189512"/>
              <a:gd name="connsiteX1" fmla="*/ 2468992 w 2468992"/>
              <a:gd name="connsiteY1" fmla="*/ 0 h 4189512"/>
              <a:gd name="connsiteX2" fmla="*/ 2468992 w 2468992"/>
              <a:gd name="connsiteY2" fmla="*/ 1485749 h 4189512"/>
              <a:gd name="connsiteX3" fmla="*/ 2230055 w 2468992"/>
              <a:gd name="connsiteY3" fmla="*/ 2046726 h 4189512"/>
              <a:gd name="connsiteX4" fmla="*/ 0 w 2468992"/>
              <a:gd name="connsiteY4" fmla="*/ 4189512 h 4189512"/>
              <a:gd name="connsiteX5" fmla="*/ 0 w 2468992"/>
              <a:gd name="connsiteY5" fmla="*/ 1949350 h 4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68992" h="4189512">
                <a:moveTo>
                  <a:pt x="2023284" y="0"/>
                </a:moveTo>
                <a:lnTo>
                  <a:pt x="2468992" y="0"/>
                </a:lnTo>
                <a:lnTo>
                  <a:pt x="2468992" y="1485749"/>
                </a:lnTo>
                <a:cubicBezTo>
                  <a:pt x="2468992" y="1668841"/>
                  <a:pt x="2362019" y="1919936"/>
                  <a:pt x="2230055" y="2046726"/>
                </a:cubicBezTo>
                <a:lnTo>
                  <a:pt x="0" y="4189512"/>
                </a:lnTo>
                <a:lnTo>
                  <a:pt x="0" y="19493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3" name="Picture Placeholder 172">
            <a:extLst>
              <a:ext uri="{FF2B5EF4-FFF2-40B4-BE49-F238E27FC236}">
                <a16:creationId xmlns:a16="http://schemas.microsoft.com/office/drawing/2014/main" id="{0992B498-A50C-0779-1448-C4C3A12D2DD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714666" y="3771987"/>
            <a:ext cx="3336776" cy="3086012"/>
          </a:xfrm>
          <a:custGeom>
            <a:avLst/>
            <a:gdLst>
              <a:gd name="connsiteX0" fmla="*/ 105190 w 3336776"/>
              <a:gd name="connsiteY0" fmla="*/ 31 h 3086012"/>
              <a:gd name="connsiteX1" fmla="*/ 238713 w 3336776"/>
              <a:gd name="connsiteY1" fmla="*/ 71887 h 3086012"/>
              <a:gd name="connsiteX2" fmla="*/ 3239968 w 3336776"/>
              <a:gd name="connsiteY2" fmla="*/ 2963471 h 3086012"/>
              <a:gd name="connsiteX3" fmla="*/ 3333056 w 3336776"/>
              <a:gd name="connsiteY3" fmla="*/ 3078994 h 3086012"/>
              <a:gd name="connsiteX4" fmla="*/ 3336776 w 3336776"/>
              <a:gd name="connsiteY4" fmla="*/ 3086012 h 3086012"/>
              <a:gd name="connsiteX5" fmla="*/ 1038182 w 3336776"/>
              <a:gd name="connsiteY5" fmla="*/ 3086012 h 3086012"/>
              <a:gd name="connsiteX6" fmla="*/ 238937 w 3336776"/>
              <a:gd name="connsiteY6" fmla="*/ 2318043 h 3086012"/>
              <a:gd name="connsiteX7" fmla="*/ 0 w 3336776"/>
              <a:gd name="connsiteY7" fmla="*/ 1757066 h 3086012"/>
              <a:gd name="connsiteX8" fmla="*/ 0 w 3336776"/>
              <a:gd name="connsiteY8" fmla="*/ 173456 h 3086012"/>
              <a:gd name="connsiteX9" fmla="*/ 105190 w 3336776"/>
              <a:gd name="connsiteY9" fmla="*/ 31 h 3086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36776" h="3086012">
                <a:moveTo>
                  <a:pt x="105190" y="31"/>
                </a:moveTo>
                <a:cubicBezTo>
                  <a:pt x="143285" y="992"/>
                  <a:pt x="189226" y="24342"/>
                  <a:pt x="238713" y="71887"/>
                </a:cubicBezTo>
                <a:lnTo>
                  <a:pt x="3239968" y="2963471"/>
                </a:lnTo>
                <a:cubicBezTo>
                  <a:pt x="3272903" y="2995224"/>
                  <a:pt x="3304375" y="3034732"/>
                  <a:pt x="3333056" y="3078994"/>
                </a:cubicBezTo>
                <a:lnTo>
                  <a:pt x="3336776" y="3086012"/>
                </a:lnTo>
                <a:lnTo>
                  <a:pt x="1038182" y="3086012"/>
                </a:lnTo>
                <a:lnTo>
                  <a:pt x="238937" y="2318043"/>
                </a:lnTo>
                <a:cubicBezTo>
                  <a:pt x="106972" y="2191253"/>
                  <a:pt x="0" y="1940158"/>
                  <a:pt x="0" y="1757066"/>
                </a:cubicBezTo>
                <a:lnTo>
                  <a:pt x="0" y="173456"/>
                </a:lnTo>
                <a:cubicBezTo>
                  <a:pt x="0" y="59023"/>
                  <a:pt x="41698" y="-1570"/>
                  <a:pt x="105190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4" name="Picture Placeholder 173">
            <a:extLst>
              <a:ext uri="{FF2B5EF4-FFF2-40B4-BE49-F238E27FC236}">
                <a16:creationId xmlns:a16="http://schemas.microsoft.com/office/drawing/2014/main" id="{38986D5E-6A4C-ABBA-AA85-354C99FF445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4898" y="4763759"/>
            <a:ext cx="2337771" cy="2094241"/>
          </a:xfrm>
          <a:custGeom>
            <a:avLst/>
            <a:gdLst>
              <a:gd name="connsiteX0" fmla="*/ 105190 w 2337771"/>
              <a:gd name="connsiteY0" fmla="*/ 31 h 2094241"/>
              <a:gd name="connsiteX1" fmla="*/ 238713 w 2337771"/>
              <a:gd name="connsiteY1" fmla="*/ 71887 h 2094241"/>
              <a:gd name="connsiteX2" fmla="*/ 2337771 w 2337771"/>
              <a:gd name="connsiteY2" fmla="*/ 2094241 h 2094241"/>
              <a:gd name="connsiteX3" fmla="*/ 88746 w 2337771"/>
              <a:gd name="connsiteY3" fmla="*/ 2094241 h 2094241"/>
              <a:gd name="connsiteX4" fmla="*/ 69981 w 2337771"/>
              <a:gd name="connsiteY4" fmla="*/ 2058668 h 2094241"/>
              <a:gd name="connsiteX5" fmla="*/ 0 w 2337771"/>
              <a:gd name="connsiteY5" fmla="*/ 1757066 h 2094241"/>
              <a:gd name="connsiteX6" fmla="*/ 0 w 2337771"/>
              <a:gd name="connsiteY6" fmla="*/ 173456 h 2094241"/>
              <a:gd name="connsiteX7" fmla="*/ 105190 w 2337771"/>
              <a:gd name="connsiteY7" fmla="*/ 31 h 2094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37771" h="2094241">
                <a:moveTo>
                  <a:pt x="105190" y="31"/>
                </a:moveTo>
                <a:cubicBezTo>
                  <a:pt x="143285" y="992"/>
                  <a:pt x="189226" y="24342"/>
                  <a:pt x="238713" y="71887"/>
                </a:cubicBezTo>
                <a:lnTo>
                  <a:pt x="2337771" y="2094241"/>
                </a:lnTo>
                <a:lnTo>
                  <a:pt x="88746" y="2094241"/>
                </a:lnTo>
                <a:lnTo>
                  <a:pt x="69981" y="2058668"/>
                </a:lnTo>
                <a:cubicBezTo>
                  <a:pt x="26743" y="1957159"/>
                  <a:pt x="0" y="1848612"/>
                  <a:pt x="0" y="1757066"/>
                </a:cubicBezTo>
                <a:lnTo>
                  <a:pt x="0" y="173456"/>
                </a:lnTo>
                <a:cubicBezTo>
                  <a:pt x="0" y="59023"/>
                  <a:pt x="41698" y="-1570"/>
                  <a:pt x="105190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E30D08F-F788-58FD-84C1-092AC28946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3952" y="1223149"/>
            <a:ext cx="5904162" cy="50141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6" name="Slide Number Placeholder 5">
            <a:extLst>
              <a:ext uri="{FF2B5EF4-FFF2-40B4-BE49-F238E27FC236}">
                <a16:creationId xmlns:a16="http://schemas.microsoft.com/office/drawing/2014/main" id="{6522F757-6621-1CFE-338A-EC6FC4EEA0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3" name="Text Placeholder 272">
            <a:extLst>
              <a:ext uri="{FF2B5EF4-FFF2-40B4-BE49-F238E27FC236}">
                <a16:creationId xmlns:a16="http://schemas.microsoft.com/office/drawing/2014/main" id="{0A68684A-4D1B-CD2C-3510-FB09CCC7C1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71889"/>
            <a:ext cx="3008278" cy="4979012"/>
          </a:xfrm>
          <a:custGeom>
            <a:avLst/>
            <a:gdLst>
              <a:gd name="connsiteX0" fmla="*/ 2903087 w 3008278"/>
              <a:gd name="connsiteY0" fmla="*/ 31 h 4979012"/>
              <a:gd name="connsiteX1" fmla="*/ 3008278 w 3008278"/>
              <a:gd name="connsiteY1" fmla="*/ 173456 h 4979012"/>
              <a:gd name="connsiteX2" fmla="*/ 3008278 w 3008278"/>
              <a:gd name="connsiteY2" fmla="*/ 1757066 h 4979012"/>
              <a:gd name="connsiteX3" fmla="*/ 2769341 w 3008278"/>
              <a:gd name="connsiteY3" fmla="*/ 2318044 h 4979012"/>
              <a:gd name="connsiteX4" fmla="*/ 0 w 3008278"/>
              <a:gd name="connsiteY4" fmla="*/ 4979012 h 4979012"/>
              <a:gd name="connsiteX5" fmla="*/ 0 w 3008278"/>
              <a:gd name="connsiteY5" fmla="*/ 2740246 h 4979012"/>
              <a:gd name="connsiteX6" fmla="*/ 2769564 w 3008278"/>
              <a:gd name="connsiteY6" fmla="*/ 71887 h 4979012"/>
              <a:gd name="connsiteX7" fmla="*/ 2903087 w 3008278"/>
              <a:gd name="connsiteY7" fmla="*/ 31 h 4979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08278" h="4979012">
                <a:moveTo>
                  <a:pt x="2903087" y="31"/>
                </a:moveTo>
                <a:cubicBezTo>
                  <a:pt x="2966579" y="-1570"/>
                  <a:pt x="3008278" y="59023"/>
                  <a:pt x="3008278" y="173456"/>
                </a:cubicBezTo>
                <a:lnTo>
                  <a:pt x="3008278" y="1757066"/>
                </a:lnTo>
                <a:cubicBezTo>
                  <a:pt x="3008278" y="1940158"/>
                  <a:pt x="2901305" y="2191253"/>
                  <a:pt x="2769341" y="2318044"/>
                </a:cubicBezTo>
                <a:lnTo>
                  <a:pt x="0" y="4979012"/>
                </a:lnTo>
                <a:lnTo>
                  <a:pt x="0" y="2740246"/>
                </a:lnTo>
                <a:lnTo>
                  <a:pt x="2769564" y="71887"/>
                </a:lnTo>
                <a:cubicBezTo>
                  <a:pt x="2819051" y="24342"/>
                  <a:pt x="2864992" y="992"/>
                  <a:pt x="2903087" y="31"/>
                </a:cubicBez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anchor="ctr">
            <a:noAutofit/>
          </a:bodyPr>
          <a:lstStyle>
            <a:lvl1pPr>
              <a:defRPr sz="100">
                <a:solidFill>
                  <a:schemeClr val="accent2"/>
                </a:solidFill>
              </a:defRPr>
            </a:lvl1pPr>
            <a:lvl2pPr>
              <a:defRPr sz="100">
                <a:solidFill>
                  <a:schemeClr val="accent2"/>
                </a:solidFill>
              </a:defRPr>
            </a:lvl2pPr>
            <a:lvl3pPr>
              <a:defRPr sz="100">
                <a:solidFill>
                  <a:schemeClr val="accent2"/>
                </a:solidFill>
              </a:defRPr>
            </a:lvl3pPr>
            <a:lvl4pPr>
              <a:defRPr sz="100">
                <a:solidFill>
                  <a:schemeClr val="accent2"/>
                </a:solidFill>
              </a:defRPr>
            </a:lvl4pPr>
            <a:lvl5pPr algn="ctr">
              <a:defRPr sz="100">
                <a:solidFill>
                  <a:schemeClr val="accent2">
                    <a:alpha val="0"/>
                  </a:schemeClr>
                </a:solidFill>
              </a:defRPr>
            </a:lvl5pPr>
          </a:lstStyle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4" name="Text Placeholder 273">
            <a:extLst>
              <a:ext uri="{FF2B5EF4-FFF2-40B4-BE49-F238E27FC236}">
                <a16:creationId xmlns:a16="http://schemas.microsoft.com/office/drawing/2014/main" id="{9180577A-0F2A-DFC9-F5B4-E28B4EB68E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293095"/>
            <a:ext cx="1581031" cy="2395295"/>
          </a:xfrm>
          <a:custGeom>
            <a:avLst/>
            <a:gdLst>
              <a:gd name="connsiteX0" fmla="*/ 1994280 w 2056324"/>
              <a:gd name="connsiteY0" fmla="*/ 19 h 3115375"/>
              <a:gd name="connsiteX1" fmla="*/ 2056324 w 2056324"/>
              <a:gd name="connsiteY1" fmla="*/ 102309 h 3115375"/>
              <a:gd name="connsiteX2" fmla="*/ 2056324 w 2056324"/>
              <a:gd name="connsiteY2" fmla="*/ 1036357 h 3115375"/>
              <a:gd name="connsiteX3" fmla="*/ 1915394 w 2056324"/>
              <a:gd name="connsiteY3" fmla="*/ 1367234 h 3115375"/>
              <a:gd name="connsiteX4" fmla="*/ 140135 w 2056324"/>
              <a:gd name="connsiteY4" fmla="*/ 3073019 h 3115375"/>
              <a:gd name="connsiteX5" fmla="*/ 2 w 2056324"/>
              <a:gd name="connsiteY5" fmla="*/ 3012980 h 3115375"/>
              <a:gd name="connsiteX6" fmla="*/ 3723 w 2056324"/>
              <a:gd name="connsiteY6" fmla="*/ 2078928 h 3115375"/>
              <a:gd name="connsiteX7" fmla="*/ 145316 w 2056324"/>
              <a:gd name="connsiteY7" fmla="*/ 1747922 h 3115375"/>
              <a:gd name="connsiteX8" fmla="*/ 1915526 w 2056324"/>
              <a:gd name="connsiteY8" fmla="*/ 42401 h 3115375"/>
              <a:gd name="connsiteX9" fmla="*/ 1994280 w 2056324"/>
              <a:gd name="connsiteY9" fmla="*/ 19 h 311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56324" h="3115375">
                <a:moveTo>
                  <a:pt x="1994280" y="19"/>
                </a:moveTo>
                <a:cubicBezTo>
                  <a:pt x="2031729" y="-925"/>
                  <a:pt x="2056324" y="34814"/>
                  <a:pt x="2056324" y="102309"/>
                </a:cubicBezTo>
                <a:lnTo>
                  <a:pt x="2056324" y="1036357"/>
                </a:lnTo>
                <a:cubicBezTo>
                  <a:pt x="2056324" y="1144349"/>
                  <a:pt x="1993229" y="1292451"/>
                  <a:pt x="1915394" y="1367234"/>
                </a:cubicBezTo>
                <a:lnTo>
                  <a:pt x="140135" y="3073019"/>
                </a:lnTo>
                <a:cubicBezTo>
                  <a:pt x="62300" y="3147800"/>
                  <a:pt x="-397" y="3120969"/>
                  <a:pt x="2" y="3012980"/>
                </a:cubicBezTo>
                <a:lnTo>
                  <a:pt x="3723" y="2078928"/>
                </a:lnTo>
                <a:cubicBezTo>
                  <a:pt x="3723" y="1970939"/>
                  <a:pt x="67612" y="1822835"/>
                  <a:pt x="145316" y="1747922"/>
                </a:cubicBezTo>
                <a:lnTo>
                  <a:pt x="1915526" y="42401"/>
                </a:lnTo>
                <a:cubicBezTo>
                  <a:pt x="1944714" y="14358"/>
                  <a:pt x="1971811" y="586"/>
                  <a:pt x="1994280" y="1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accent4">
                    <a:alpha val="0"/>
                  </a:schemeClr>
                </a:solidFill>
              </a:defRPr>
            </a:lvl1pPr>
            <a:lvl2pPr>
              <a:defRPr sz="100">
                <a:solidFill>
                  <a:schemeClr val="accent4">
                    <a:alpha val="0"/>
                  </a:schemeClr>
                </a:solidFill>
              </a:defRPr>
            </a:lvl2pPr>
            <a:lvl3pPr>
              <a:defRPr sz="100">
                <a:solidFill>
                  <a:schemeClr val="accent4">
                    <a:alpha val="0"/>
                  </a:schemeClr>
                </a:solidFill>
              </a:defRPr>
            </a:lvl3pPr>
            <a:lvl4pPr>
              <a:defRPr sz="100">
                <a:solidFill>
                  <a:schemeClr val="accent4">
                    <a:alpha val="0"/>
                  </a:schemeClr>
                </a:solidFill>
              </a:defRPr>
            </a:lvl4pPr>
            <a:lvl5pPr>
              <a:defRPr sz="100">
                <a:solidFill>
                  <a:schemeClr val="accent4">
                    <a:alpha val="0"/>
                  </a:schemeClr>
                </a:solidFill>
              </a:defRPr>
            </a:lvl5pPr>
          </a:lstStyle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CE16DFF-A34B-DDDB-C64E-BC4807918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386" y="332657"/>
            <a:ext cx="5892296" cy="75669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29895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Text Placeholder 274">
            <a:extLst>
              <a:ext uri="{FF2B5EF4-FFF2-40B4-BE49-F238E27FC236}">
                <a16:creationId xmlns:a16="http://schemas.microsoft.com/office/drawing/2014/main" id="{5C4F1F97-E65D-A420-9EA6-EEDF7BE680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39011" y="251884"/>
            <a:ext cx="3952991" cy="6606117"/>
          </a:xfrm>
          <a:custGeom>
            <a:avLst/>
            <a:gdLst>
              <a:gd name="connsiteX0" fmla="*/ 3952991 w 3952991"/>
              <a:gd name="connsiteY0" fmla="*/ 0 h 6606117"/>
              <a:gd name="connsiteX1" fmla="*/ 3952991 w 3952991"/>
              <a:gd name="connsiteY1" fmla="*/ 3536651 h 6606117"/>
              <a:gd name="connsiteX2" fmla="*/ 3952991 w 3952991"/>
              <a:gd name="connsiteY2" fmla="*/ 6606117 h 6606117"/>
              <a:gd name="connsiteX3" fmla="*/ 0 w 3952991"/>
              <a:gd name="connsiteY3" fmla="*/ 6606117 h 6606117"/>
              <a:gd name="connsiteX4" fmla="*/ 9106 w 3952991"/>
              <a:gd name="connsiteY4" fmla="*/ 4319713 h 6606117"/>
              <a:gd name="connsiteX5" fmla="*/ 387448 w 3952991"/>
              <a:gd name="connsiteY5" fmla="*/ 3435252 h 6606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2991" h="6606117">
                <a:moveTo>
                  <a:pt x="3952991" y="0"/>
                </a:moveTo>
                <a:lnTo>
                  <a:pt x="3952991" y="3536651"/>
                </a:lnTo>
                <a:lnTo>
                  <a:pt x="3952991" y="6606117"/>
                </a:lnTo>
                <a:lnTo>
                  <a:pt x="0" y="6606117"/>
                </a:lnTo>
                <a:lnTo>
                  <a:pt x="9106" y="4319713"/>
                </a:lnTo>
                <a:cubicBezTo>
                  <a:pt x="9106" y="4031162"/>
                  <a:pt x="179820" y="3635422"/>
                  <a:pt x="387448" y="3435252"/>
                </a:cubicBezTo>
                <a:close/>
              </a:path>
            </a:pathLst>
          </a:custGeom>
          <a:solidFill>
            <a:srgbClr val="F07E26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76" name="Slide Number Placeholder 5">
            <a:extLst>
              <a:ext uri="{FF2B5EF4-FFF2-40B4-BE49-F238E27FC236}">
                <a16:creationId xmlns:a16="http://schemas.microsoft.com/office/drawing/2014/main" id="{6522F757-6621-1CFE-338A-EC6FC4EEA0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3" name="Text Placeholder 16">
            <a:extLst>
              <a:ext uri="{FF2B5EF4-FFF2-40B4-BE49-F238E27FC236}">
                <a16:creationId xmlns:a16="http://schemas.microsoft.com/office/drawing/2014/main" id="{FE741B7C-1877-C14A-65A1-B5A7A0F0BA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1223149"/>
            <a:ext cx="7085111" cy="50141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4" name="Title 6">
            <a:extLst>
              <a:ext uri="{FF2B5EF4-FFF2-40B4-BE49-F238E27FC236}">
                <a16:creationId xmlns:a16="http://schemas.microsoft.com/office/drawing/2014/main" id="{F153063D-FAFB-D531-4E8A-CD5CE1D20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66" y="332657"/>
            <a:ext cx="7070872" cy="75669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76" name="Text Placeholder 275">
            <a:extLst>
              <a:ext uri="{FF2B5EF4-FFF2-40B4-BE49-F238E27FC236}">
                <a16:creationId xmlns:a16="http://schemas.microsoft.com/office/drawing/2014/main" id="{01A522C6-5F9C-369D-76E7-540BC24E3DC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434450" y="586169"/>
            <a:ext cx="1757550" cy="3862863"/>
          </a:xfrm>
          <a:custGeom>
            <a:avLst/>
            <a:gdLst>
              <a:gd name="connsiteX0" fmla="*/ 108677 w 1757550"/>
              <a:gd name="connsiteY0" fmla="*/ 30 h 3862863"/>
              <a:gd name="connsiteX1" fmla="*/ 247691 w 1757550"/>
              <a:gd name="connsiteY1" fmla="*/ 74865 h 3862863"/>
              <a:gd name="connsiteX2" fmla="*/ 1757550 w 1757550"/>
              <a:gd name="connsiteY2" fmla="*/ 1525639 h 3862863"/>
              <a:gd name="connsiteX3" fmla="*/ 1757550 w 1757550"/>
              <a:gd name="connsiteY3" fmla="*/ 3862863 h 3862863"/>
              <a:gd name="connsiteX4" fmla="*/ 256848 w 1757550"/>
              <a:gd name="connsiteY4" fmla="*/ 2416999 h 3862863"/>
              <a:gd name="connsiteX5" fmla="*/ 6579 w 1757550"/>
              <a:gd name="connsiteY5" fmla="*/ 1831940 h 3862863"/>
              <a:gd name="connsiteX6" fmla="*/ 4 w 1757550"/>
              <a:gd name="connsiteY6" fmla="*/ 180987 h 3862863"/>
              <a:gd name="connsiteX7" fmla="*/ 71992 w 1757550"/>
              <a:gd name="connsiteY7" fmla="*/ 6783 h 3862863"/>
              <a:gd name="connsiteX8" fmla="*/ 108677 w 1757550"/>
              <a:gd name="connsiteY8" fmla="*/ 30 h 386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57550" h="3862863">
                <a:moveTo>
                  <a:pt x="108677" y="30"/>
                </a:moveTo>
                <a:cubicBezTo>
                  <a:pt x="148272" y="989"/>
                  <a:pt x="196100" y="25299"/>
                  <a:pt x="247691" y="74865"/>
                </a:cubicBezTo>
                <a:lnTo>
                  <a:pt x="1757550" y="1525639"/>
                </a:lnTo>
                <a:lnTo>
                  <a:pt x="1757550" y="3862863"/>
                </a:lnTo>
                <a:lnTo>
                  <a:pt x="256848" y="2416999"/>
                </a:lnTo>
                <a:cubicBezTo>
                  <a:pt x="119505" y="2284590"/>
                  <a:pt x="6579" y="2022812"/>
                  <a:pt x="6579" y="1831940"/>
                </a:cubicBezTo>
                <a:lnTo>
                  <a:pt x="4" y="180987"/>
                </a:lnTo>
                <a:cubicBezTo>
                  <a:pt x="-348" y="85550"/>
                  <a:pt x="27179" y="25976"/>
                  <a:pt x="71992" y="6783"/>
                </a:cubicBezTo>
                <a:cubicBezTo>
                  <a:pt x="83195" y="1985"/>
                  <a:pt x="95479" y="-290"/>
                  <a:pt x="108677" y="30"/>
                </a:cubicBez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 b="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75" name="Picture Placeholder 174">
            <a:extLst>
              <a:ext uri="{FF2B5EF4-FFF2-40B4-BE49-F238E27FC236}">
                <a16:creationId xmlns:a16="http://schemas.microsoft.com/office/drawing/2014/main" id="{C8DB182E-FFC4-114D-A745-513657A198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572858" y="353298"/>
            <a:ext cx="3634587" cy="5506483"/>
          </a:xfrm>
          <a:custGeom>
            <a:avLst/>
            <a:gdLst>
              <a:gd name="connsiteX0" fmla="*/ 108677 w 3634587"/>
              <a:gd name="connsiteY0" fmla="*/ 30 h 5506483"/>
              <a:gd name="connsiteX1" fmla="*/ 247691 w 3634587"/>
              <a:gd name="connsiteY1" fmla="*/ 74865 h 5506483"/>
              <a:gd name="connsiteX2" fmla="*/ 3385489 w 3634587"/>
              <a:gd name="connsiteY2" fmla="*/ 3089872 h 5506483"/>
              <a:gd name="connsiteX3" fmla="*/ 3634587 w 3634587"/>
              <a:gd name="connsiteY3" fmla="*/ 3674704 h 5506483"/>
              <a:gd name="connsiteX4" fmla="*/ 3634587 w 3634587"/>
              <a:gd name="connsiteY4" fmla="*/ 5325652 h 5506483"/>
              <a:gd name="connsiteX5" fmla="*/ 3385723 w 3634587"/>
              <a:gd name="connsiteY5" fmla="*/ 5431540 h 5506483"/>
              <a:gd name="connsiteX6" fmla="*/ 256848 w 3634587"/>
              <a:gd name="connsiteY6" fmla="*/ 2416999 h 5506483"/>
              <a:gd name="connsiteX7" fmla="*/ 6579 w 3634587"/>
              <a:gd name="connsiteY7" fmla="*/ 1831940 h 5506483"/>
              <a:gd name="connsiteX8" fmla="*/ 4 w 3634587"/>
              <a:gd name="connsiteY8" fmla="*/ 180987 h 5506483"/>
              <a:gd name="connsiteX9" fmla="*/ 108677 w 3634587"/>
              <a:gd name="connsiteY9" fmla="*/ 30 h 5506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34587" h="5506483">
                <a:moveTo>
                  <a:pt x="108677" y="30"/>
                </a:moveTo>
                <a:cubicBezTo>
                  <a:pt x="148272" y="989"/>
                  <a:pt x="196100" y="25299"/>
                  <a:pt x="247691" y="74865"/>
                </a:cubicBezTo>
                <a:lnTo>
                  <a:pt x="3385489" y="3089872"/>
                </a:lnTo>
                <a:cubicBezTo>
                  <a:pt x="3523065" y="3222054"/>
                  <a:pt x="3634587" y="3483826"/>
                  <a:pt x="3634587" y="3674704"/>
                </a:cubicBezTo>
                <a:lnTo>
                  <a:pt x="3634587" y="5325652"/>
                </a:lnTo>
                <a:cubicBezTo>
                  <a:pt x="3634587" y="5516530"/>
                  <a:pt x="3523299" y="5563717"/>
                  <a:pt x="3385723" y="5431540"/>
                </a:cubicBezTo>
                <a:lnTo>
                  <a:pt x="256848" y="2416999"/>
                </a:lnTo>
                <a:cubicBezTo>
                  <a:pt x="119505" y="2284590"/>
                  <a:pt x="6579" y="2022812"/>
                  <a:pt x="6579" y="1831940"/>
                </a:cubicBezTo>
                <a:lnTo>
                  <a:pt x="4" y="180987"/>
                </a:lnTo>
                <a:cubicBezTo>
                  <a:pt x="-437" y="61691"/>
                  <a:pt x="42686" y="-1570"/>
                  <a:pt x="108677" y="3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82" name="Picture Placeholder 181">
            <a:extLst>
              <a:ext uri="{FF2B5EF4-FFF2-40B4-BE49-F238E27FC236}">
                <a16:creationId xmlns:a16="http://schemas.microsoft.com/office/drawing/2014/main" id="{5F0494F4-61BF-0CAE-EF1E-9F19E95E2C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1540909" y="1787732"/>
            <a:ext cx="666536" cy="1767448"/>
          </a:xfrm>
          <a:custGeom>
            <a:avLst/>
            <a:gdLst>
              <a:gd name="connsiteX0" fmla="*/ 666536 w 666536"/>
              <a:gd name="connsiteY0" fmla="*/ 0 h 1767448"/>
              <a:gd name="connsiteX1" fmla="*/ 666536 w 666536"/>
              <a:gd name="connsiteY1" fmla="*/ 1211608 h 1767448"/>
              <a:gd name="connsiteX2" fmla="*/ 128469 w 666536"/>
              <a:gd name="connsiteY2" fmla="*/ 1728619 h 1767448"/>
              <a:gd name="connsiteX3" fmla="*/ 2 w 666536"/>
              <a:gd name="connsiteY3" fmla="*/ 1673577 h 1767448"/>
              <a:gd name="connsiteX4" fmla="*/ 3413 w 666536"/>
              <a:gd name="connsiteY4" fmla="*/ 817280 h 1767448"/>
              <a:gd name="connsiteX5" fmla="*/ 133219 w 666536"/>
              <a:gd name="connsiteY5" fmla="*/ 513829 h 176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6536" h="1767448">
                <a:moveTo>
                  <a:pt x="666536" y="0"/>
                </a:moveTo>
                <a:lnTo>
                  <a:pt x="666536" y="1211608"/>
                </a:lnTo>
                <a:lnTo>
                  <a:pt x="128469" y="1728619"/>
                </a:lnTo>
                <a:cubicBezTo>
                  <a:pt x="57113" y="1797174"/>
                  <a:pt x="-364" y="1772576"/>
                  <a:pt x="2" y="1673577"/>
                </a:cubicBezTo>
                <a:lnTo>
                  <a:pt x="3413" y="817280"/>
                </a:lnTo>
                <a:cubicBezTo>
                  <a:pt x="3413" y="718281"/>
                  <a:pt x="61983" y="582505"/>
                  <a:pt x="133219" y="51382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l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8" name="Picture Placeholder 177">
            <a:extLst>
              <a:ext uri="{FF2B5EF4-FFF2-40B4-BE49-F238E27FC236}">
                <a16:creationId xmlns:a16="http://schemas.microsoft.com/office/drawing/2014/main" id="{C6C9A0FA-8556-275A-2BBA-2E78B696561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 rot="10800000" flipV="1">
            <a:off x="7674397" y="3408318"/>
            <a:ext cx="3743174" cy="3441037"/>
          </a:xfrm>
          <a:custGeom>
            <a:avLst/>
            <a:gdLst>
              <a:gd name="connsiteX0" fmla="*/ 119273 w 3743174"/>
              <a:gd name="connsiteY0" fmla="*/ 36 h 3441037"/>
              <a:gd name="connsiteX1" fmla="*/ 0 w 3743174"/>
              <a:gd name="connsiteY1" fmla="*/ 196679 h 3441037"/>
              <a:gd name="connsiteX2" fmla="*/ 0 w 3743174"/>
              <a:gd name="connsiteY2" fmla="*/ 1992304 h 3441037"/>
              <a:gd name="connsiteX3" fmla="*/ 270926 w 3743174"/>
              <a:gd name="connsiteY3" fmla="*/ 2628386 h 3441037"/>
              <a:gd name="connsiteX4" fmla="*/ 1116674 w 3743174"/>
              <a:gd name="connsiteY4" fmla="*/ 3441037 h 3441037"/>
              <a:gd name="connsiteX5" fmla="*/ 3743174 w 3743174"/>
              <a:gd name="connsiteY5" fmla="*/ 3441037 h 3441037"/>
              <a:gd name="connsiteX6" fmla="*/ 3728321 w 3743174"/>
              <a:gd name="connsiteY6" fmla="*/ 3420399 h 3441037"/>
              <a:gd name="connsiteX7" fmla="*/ 3673737 w 3743174"/>
              <a:gd name="connsiteY7" fmla="*/ 3360224 h 3441037"/>
              <a:gd name="connsiteX8" fmla="*/ 270672 w 3743174"/>
              <a:gd name="connsiteY8" fmla="*/ 81512 h 3441037"/>
              <a:gd name="connsiteX9" fmla="*/ 119273 w 3743174"/>
              <a:gd name="connsiteY9" fmla="*/ 36 h 3441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743174" h="3441037">
                <a:moveTo>
                  <a:pt x="119273" y="36"/>
                </a:moveTo>
                <a:cubicBezTo>
                  <a:pt x="47281" y="-1779"/>
                  <a:pt x="0" y="66926"/>
                  <a:pt x="0" y="196679"/>
                </a:cubicBezTo>
                <a:lnTo>
                  <a:pt x="0" y="1992304"/>
                </a:lnTo>
                <a:cubicBezTo>
                  <a:pt x="0" y="2199909"/>
                  <a:pt x="121294" y="2484621"/>
                  <a:pt x="270926" y="2628386"/>
                </a:cubicBezTo>
                <a:lnTo>
                  <a:pt x="1116674" y="3441037"/>
                </a:lnTo>
                <a:lnTo>
                  <a:pt x="3743174" y="3441037"/>
                </a:lnTo>
                <a:lnTo>
                  <a:pt x="3728321" y="3420399"/>
                </a:lnTo>
                <a:cubicBezTo>
                  <a:pt x="3710666" y="3398426"/>
                  <a:pt x="3692409" y="3378226"/>
                  <a:pt x="3673737" y="3360224"/>
                </a:cubicBezTo>
                <a:lnTo>
                  <a:pt x="270672" y="81512"/>
                </a:lnTo>
                <a:cubicBezTo>
                  <a:pt x="214560" y="27602"/>
                  <a:pt x="162469" y="1126"/>
                  <a:pt x="119273" y="36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81888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B40599C-4C0F-475E-A2C1-B16A0CE59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2525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B40599C-4C0F-475E-A2C1-B16A0CE59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B38E3F0-4CB0-47F9-A7A7-F370395980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2"/>
            <a:ext cx="4888254" cy="6857999"/>
          </a:xfrm>
          <a:custGeom>
            <a:avLst/>
            <a:gdLst>
              <a:gd name="connsiteX0" fmla="*/ 3424860 w 4888254"/>
              <a:gd name="connsiteY0" fmla="*/ 0 h 6857999"/>
              <a:gd name="connsiteX1" fmla="*/ 4888254 w 4888254"/>
              <a:gd name="connsiteY1" fmla="*/ 0 h 6857999"/>
              <a:gd name="connsiteX2" fmla="*/ 4888254 w 4888254"/>
              <a:gd name="connsiteY2" fmla="*/ 5609609 h 6857999"/>
              <a:gd name="connsiteX3" fmla="*/ 4639839 w 4888254"/>
              <a:gd name="connsiteY3" fmla="*/ 6194112 h 6857999"/>
              <a:gd name="connsiteX4" fmla="*/ 3951970 w 4888254"/>
              <a:gd name="connsiteY4" fmla="*/ 6857999 h 6857999"/>
              <a:gd name="connsiteX5" fmla="*/ 0 w 4888254"/>
              <a:gd name="connsiteY5" fmla="*/ 6857999 h 6857999"/>
              <a:gd name="connsiteX6" fmla="*/ 0 w 4888254"/>
              <a:gd name="connsiteY6" fmla="*/ 331425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88254" h="6857999">
                <a:moveTo>
                  <a:pt x="3424860" y="0"/>
                </a:moveTo>
                <a:lnTo>
                  <a:pt x="4888254" y="0"/>
                </a:lnTo>
                <a:lnTo>
                  <a:pt x="4888254" y="5609609"/>
                </a:lnTo>
                <a:cubicBezTo>
                  <a:pt x="4888254" y="5800303"/>
                  <a:pt x="4776955" y="6062110"/>
                  <a:pt x="4639839" y="6194112"/>
                </a:cubicBezTo>
                <a:lnTo>
                  <a:pt x="3951970" y="6857999"/>
                </a:lnTo>
                <a:lnTo>
                  <a:pt x="0" y="6857999"/>
                </a:lnTo>
                <a:lnTo>
                  <a:pt x="0" y="3314259"/>
                </a:lnTo>
                <a:close/>
              </a:path>
            </a:pathLst>
          </a:custGeom>
          <a:solidFill>
            <a:schemeClr val="tx2">
              <a:alpha val="54902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CF89D1-5F6C-4FE0-93BA-66FADB691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C02EBC26-BEE1-47AE-8EA9-C652E92164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0"/>
            <a:ext cx="1593121" cy="2779244"/>
          </a:xfrm>
          <a:custGeom>
            <a:avLst/>
            <a:gdLst>
              <a:gd name="connsiteX0" fmla="*/ 453341 w 1593121"/>
              <a:gd name="connsiteY0" fmla="*/ 0 h 2779244"/>
              <a:gd name="connsiteX1" fmla="*/ 1593121 w 1593121"/>
              <a:gd name="connsiteY1" fmla="*/ 0 h 2779244"/>
              <a:gd name="connsiteX2" fmla="*/ 1593121 w 1593121"/>
              <a:gd name="connsiteY2" fmla="*/ 879158 h 2779244"/>
              <a:gd name="connsiteX3" fmla="*/ 1346047 w 1593121"/>
              <a:gd name="connsiteY3" fmla="*/ 1465365 h 2779244"/>
              <a:gd name="connsiteX4" fmla="*/ 0 w 1593121"/>
              <a:gd name="connsiteY4" fmla="*/ 2779244 h 2779244"/>
              <a:gd name="connsiteX5" fmla="*/ 0 w 1593121"/>
              <a:gd name="connsiteY5" fmla="*/ 443589 h 2779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93121" h="2779244">
                <a:moveTo>
                  <a:pt x="453341" y="0"/>
                </a:moveTo>
                <a:lnTo>
                  <a:pt x="1593121" y="0"/>
                </a:lnTo>
                <a:lnTo>
                  <a:pt x="1593121" y="879158"/>
                </a:lnTo>
                <a:cubicBezTo>
                  <a:pt x="1593121" y="1069731"/>
                  <a:pt x="1482554" y="1332270"/>
                  <a:pt x="1346047" y="1465365"/>
                </a:cubicBezTo>
                <a:lnTo>
                  <a:pt x="0" y="2779244"/>
                </a:lnTo>
                <a:lnTo>
                  <a:pt x="0" y="443589"/>
                </a:lnTo>
                <a:close/>
              </a:path>
            </a:pathLst>
          </a:custGeom>
          <a:solidFill>
            <a:schemeClr val="accent4">
              <a:alpha val="54902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9" name="Picture Placeholder 48">
            <a:extLst>
              <a:ext uri="{FF2B5EF4-FFF2-40B4-BE49-F238E27FC236}">
                <a16:creationId xmlns:a16="http://schemas.microsoft.com/office/drawing/2014/main" id="{01C3D4F7-C5D7-45D6-A953-603325CA008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828129" y="3913258"/>
            <a:ext cx="3184894" cy="2944742"/>
          </a:xfrm>
          <a:custGeom>
            <a:avLst/>
            <a:gdLst>
              <a:gd name="connsiteX0" fmla="*/ 107776 w 3184894"/>
              <a:gd name="connsiteY0" fmla="*/ 52 h 2944742"/>
              <a:gd name="connsiteX1" fmla="*/ 245616 w 3184894"/>
              <a:gd name="connsiteY1" fmla="*/ 75939 h 2944742"/>
              <a:gd name="connsiteX2" fmla="*/ 3184894 w 3184894"/>
              <a:gd name="connsiteY2" fmla="*/ 2944742 h 2944742"/>
              <a:gd name="connsiteX3" fmla="*/ 794844 w 3184894"/>
              <a:gd name="connsiteY3" fmla="*/ 2944742 h 2944742"/>
              <a:gd name="connsiteX4" fmla="*/ 254869 w 3184894"/>
              <a:gd name="connsiteY4" fmla="*/ 2416383 h 2944742"/>
              <a:gd name="connsiteX5" fmla="*/ 6701 w 3184894"/>
              <a:gd name="connsiteY5" fmla="*/ 1829689 h 2944742"/>
              <a:gd name="connsiteX6" fmla="*/ 4 w 3184894"/>
              <a:gd name="connsiteY6" fmla="*/ 179932 h 2944742"/>
              <a:gd name="connsiteX7" fmla="*/ 107776 w 3184894"/>
              <a:gd name="connsiteY7" fmla="*/ 52 h 2944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84894" h="2944742">
                <a:moveTo>
                  <a:pt x="107776" y="52"/>
                </a:moveTo>
                <a:cubicBezTo>
                  <a:pt x="147044" y="1318"/>
                  <a:pt x="194472" y="25982"/>
                  <a:pt x="245616" y="75939"/>
                </a:cubicBezTo>
                <a:lnTo>
                  <a:pt x="3184894" y="2944742"/>
                </a:lnTo>
                <a:lnTo>
                  <a:pt x="794844" y="2944742"/>
                </a:lnTo>
                <a:lnTo>
                  <a:pt x="254869" y="2416383"/>
                </a:lnTo>
                <a:cubicBezTo>
                  <a:pt x="118607" y="2283045"/>
                  <a:pt x="7553" y="2020383"/>
                  <a:pt x="6701" y="1829689"/>
                </a:cubicBezTo>
                <a:lnTo>
                  <a:pt x="4" y="179932"/>
                </a:lnTo>
                <a:cubicBezTo>
                  <a:pt x="-453" y="60824"/>
                  <a:pt x="42329" y="-2059"/>
                  <a:pt x="107776" y="5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1" name="Picture Placeholder 130">
            <a:extLst>
              <a:ext uri="{FF2B5EF4-FFF2-40B4-BE49-F238E27FC236}">
                <a16:creationId xmlns:a16="http://schemas.microsoft.com/office/drawing/2014/main" id="{1FF734AA-F776-AE1C-57B9-EDE4DFEF58C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306596" y="1829774"/>
            <a:ext cx="1885144" cy="2856036"/>
          </a:xfrm>
          <a:custGeom>
            <a:avLst/>
            <a:gdLst>
              <a:gd name="connsiteX0" fmla="*/ 1828265 w 1885144"/>
              <a:gd name="connsiteY0" fmla="*/ 17 h 2856036"/>
              <a:gd name="connsiteX1" fmla="*/ 1885144 w 1885144"/>
              <a:gd name="connsiteY1" fmla="*/ 93791 h 2856036"/>
              <a:gd name="connsiteX2" fmla="*/ 1885144 w 1885144"/>
              <a:gd name="connsiteY2" fmla="*/ 950086 h 2856036"/>
              <a:gd name="connsiteX3" fmla="*/ 1755945 w 1885144"/>
              <a:gd name="connsiteY3" fmla="*/ 1253419 h 2856036"/>
              <a:gd name="connsiteX4" fmla="*/ 128470 w 1885144"/>
              <a:gd name="connsiteY4" fmla="*/ 2817207 h 2856036"/>
              <a:gd name="connsiteX5" fmla="*/ 2 w 1885144"/>
              <a:gd name="connsiteY5" fmla="*/ 2762165 h 2856036"/>
              <a:gd name="connsiteX6" fmla="*/ 3413 w 1885144"/>
              <a:gd name="connsiteY6" fmla="*/ 1905868 h 2856036"/>
              <a:gd name="connsiteX7" fmla="*/ 133219 w 1885144"/>
              <a:gd name="connsiteY7" fmla="*/ 1602417 h 2856036"/>
              <a:gd name="connsiteX8" fmla="*/ 1756066 w 1885144"/>
              <a:gd name="connsiteY8" fmla="*/ 38871 h 2856036"/>
              <a:gd name="connsiteX9" fmla="*/ 1828265 w 1885144"/>
              <a:gd name="connsiteY9" fmla="*/ 17 h 2856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85144" h="2856036">
                <a:moveTo>
                  <a:pt x="1828265" y="17"/>
                </a:moveTo>
                <a:cubicBezTo>
                  <a:pt x="1862597" y="-849"/>
                  <a:pt x="1885144" y="31915"/>
                  <a:pt x="1885144" y="93791"/>
                </a:cubicBezTo>
                <a:lnTo>
                  <a:pt x="1885144" y="950086"/>
                </a:lnTo>
                <a:cubicBezTo>
                  <a:pt x="1885144" y="1049088"/>
                  <a:pt x="1827302" y="1184861"/>
                  <a:pt x="1755945" y="1253419"/>
                </a:cubicBezTo>
                <a:lnTo>
                  <a:pt x="128470" y="2817207"/>
                </a:lnTo>
                <a:cubicBezTo>
                  <a:pt x="57113" y="2885762"/>
                  <a:pt x="-363" y="2861164"/>
                  <a:pt x="2" y="2762165"/>
                </a:cubicBezTo>
                <a:lnTo>
                  <a:pt x="3413" y="1905868"/>
                </a:lnTo>
                <a:cubicBezTo>
                  <a:pt x="3413" y="1806869"/>
                  <a:pt x="61983" y="1671093"/>
                  <a:pt x="133219" y="1602417"/>
                </a:cubicBezTo>
                <a:lnTo>
                  <a:pt x="1756066" y="38871"/>
                </a:lnTo>
                <a:cubicBezTo>
                  <a:pt x="1782825" y="13162"/>
                  <a:pt x="1807666" y="536"/>
                  <a:pt x="1828265" y="1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2" name="Text Placeholder 16">
            <a:extLst>
              <a:ext uri="{FF2B5EF4-FFF2-40B4-BE49-F238E27FC236}">
                <a16:creationId xmlns:a16="http://schemas.microsoft.com/office/drawing/2014/main" id="{56776858-6732-0BF4-EA80-58C93223F4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31904" y="1217099"/>
            <a:ext cx="6336210" cy="50201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3" name="Title 6">
            <a:extLst>
              <a:ext uri="{FF2B5EF4-FFF2-40B4-BE49-F238E27FC236}">
                <a16:creationId xmlns:a16="http://schemas.microsoft.com/office/drawing/2014/main" id="{ADC5C114-920C-48D9-F9B6-D1474B9FC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3206" y="332657"/>
            <a:ext cx="6323476" cy="7460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25529F9-1762-4811-BF8A-E21EE766E2E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" y="3596812"/>
            <a:ext cx="3340898" cy="3261189"/>
          </a:xfrm>
          <a:custGeom>
            <a:avLst/>
            <a:gdLst>
              <a:gd name="connsiteX0" fmla="*/ 0 w 2283321"/>
              <a:gd name="connsiteY0" fmla="*/ 0 h 2228844"/>
              <a:gd name="connsiteX1" fmla="*/ 2283321 w 2283321"/>
              <a:gd name="connsiteY1" fmla="*/ 2228844 h 2228844"/>
              <a:gd name="connsiteX2" fmla="*/ 0 w 2283321"/>
              <a:gd name="connsiteY2" fmla="*/ 2228844 h 2228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83321" h="2228844">
                <a:moveTo>
                  <a:pt x="0" y="0"/>
                </a:moveTo>
                <a:lnTo>
                  <a:pt x="2283321" y="2228844"/>
                </a:lnTo>
                <a:lnTo>
                  <a:pt x="0" y="2228844"/>
                </a:lnTo>
                <a:close/>
              </a:path>
            </a:pathLst>
          </a:custGeom>
          <a:solidFill>
            <a:srgbClr val="005191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FE2BE2B0-A440-49C5-8CD8-55E98E2A3D7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292099"/>
            <a:ext cx="2248981" cy="4369630"/>
          </a:xfrm>
          <a:custGeom>
            <a:avLst/>
            <a:gdLst>
              <a:gd name="connsiteX0" fmla="*/ 2140214 w 2248981"/>
              <a:gd name="connsiteY0" fmla="*/ 56 h 4369630"/>
              <a:gd name="connsiteX1" fmla="*/ 2248981 w 2248981"/>
              <a:gd name="connsiteY1" fmla="*/ 179856 h 4369630"/>
              <a:gd name="connsiteX2" fmla="*/ 2248981 w 2248981"/>
              <a:gd name="connsiteY2" fmla="*/ 1829126 h 4369630"/>
              <a:gd name="connsiteX3" fmla="*/ 2001907 w 2248981"/>
              <a:gd name="connsiteY3" fmla="*/ 2415334 h 4369630"/>
              <a:gd name="connsiteX4" fmla="*/ 0 w 2248981"/>
              <a:gd name="connsiteY4" fmla="*/ 4369630 h 4369630"/>
              <a:gd name="connsiteX5" fmla="*/ 0 w 2248981"/>
              <a:gd name="connsiteY5" fmla="*/ 2035309 h 4369630"/>
              <a:gd name="connsiteX6" fmla="*/ 2002273 w 2248981"/>
              <a:gd name="connsiteY6" fmla="*/ 76107 h 4369630"/>
              <a:gd name="connsiteX7" fmla="*/ 2140214 w 2248981"/>
              <a:gd name="connsiteY7" fmla="*/ 56 h 4369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48981" h="4369630">
                <a:moveTo>
                  <a:pt x="2140214" y="56"/>
                </a:moveTo>
                <a:cubicBezTo>
                  <a:pt x="2205838" y="-2145"/>
                  <a:pt x="2248981" y="60672"/>
                  <a:pt x="2248981" y="179856"/>
                </a:cubicBezTo>
                <a:lnTo>
                  <a:pt x="2248981" y="1829126"/>
                </a:lnTo>
                <a:cubicBezTo>
                  <a:pt x="2248981" y="2019699"/>
                  <a:pt x="2138290" y="2282238"/>
                  <a:pt x="2001907" y="2415334"/>
                </a:cubicBezTo>
                <a:lnTo>
                  <a:pt x="0" y="4369630"/>
                </a:lnTo>
                <a:lnTo>
                  <a:pt x="0" y="2035309"/>
                </a:lnTo>
                <a:lnTo>
                  <a:pt x="2002273" y="76107"/>
                </a:lnTo>
                <a:cubicBezTo>
                  <a:pt x="2053371" y="26104"/>
                  <a:pt x="2100839" y="1377"/>
                  <a:pt x="2140214" y="5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02249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A5636D-EA1F-6C7D-42F4-B0625C2360E5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444CDB-8439-23FC-3ABC-9CC17E981ECB}"/>
              </a:ext>
            </a:extLst>
          </p:cNvPr>
          <p:cNvSpPr txBox="1"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AFF59C-8898-B105-083D-1502F85F3992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F376CDD5-D89E-4FD0-B2ED-4F6A4103B13C}" type="datetime1">
              <a:rPr lang="fr-FR"/>
              <a:pPr lvl="0"/>
              <a:t>03/04/2024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E0C603-AFDE-32E6-840E-596BE4E8EF46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A2B7FB-F782-C172-5B77-CCCEA9594B0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36E80E29-FD4E-4BD7-B6C3-632395B87895}" type="slidenum"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58722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Text Placeholder 122">
            <a:extLst>
              <a:ext uri="{FF2B5EF4-FFF2-40B4-BE49-F238E27FC236}">
                <a16:creationId xmlns:a16="http://schemas.microsoft.com/office/drawing/2014/main" id="{75D1C29E-CD31-88C7-C4B4-E2C662F8B7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67288" y="0"/>
            <a:ext cx="6224712" cy="6858000"/>
          </a:xfrm>
          <a:custGeom>
            <a:avLst/>
            <a:gdLst>
              <a:gd name="connsiteX0" fmla="*/ 4864803 w 6224712"/>
              <a:gd name="connsiteY0" fmla="*/ 0 h 6858000"/>
              <a:gd name="connsiteX1" fmla="*/ 6224712 w 6224712"/>
              <a:gd name="connsiteY1" fmla="*/ 0 h 6858000"/>
              <a:gd name="connsiteX2" fmla="*/ 6224712 w 6224712"/>
              <a:gd name="connsiteY2" fmla="*/ 4020623 h 6858000"/>
              <a:gd name="connsiteX3" fmla="*/ 3271778 w 6224712"/>
              <a:gd name="connsiteY3" fmla="*/ 6858000 h 6858000"/>
              <a:gd name="connsiteX4" fmla="*/ 0 w 6224712"/>
              <a:gd name="connsiteY4" fmla="*/ 6858000 h 6858000"/>
              <a:gd name="connsiteX5" fmla="*/ 5547 w 6224712"/>
              <a:gd name="connsiteY5" fmla="*/ 5465306 h 6858000"/>
              <a:gd name="connsiteX6" fmla="*/ 575750 w 6224712"/>
              <a:gd name="connsiteY6" fmla="*/ 41323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24712" h="6858000">
                <a:moveTo>
                  <a:pt x="4864803" y="0"/>
                </a:moveTo>
                <a:lnTo>
                  <a:pt x="6224712" y="0"/>
                </a:lnTo>
                <a:lnTo>
                  <a:pt x="6224712" y="4020623"/>
                </a:lnTo>
                <a:lnTo>
                  <a:pt x="3271778" y="6858000"/>
                </a:lnTo>
                <a:lnTo>
                  <a:pt x="0" y="6858000"/>
                </a:lnTo>
                <a:lnTo>
                  <a:pt x="5547" y="5465306"/>
                </a:lnTo>
                <a:cubicBezTo>
                  <a:pt x="5547" y="5030428"/>
                  <a:pt x="262832" y="4434003"/>
                  <a:pt x="575750" y="4132325"/>
                </a:cubicBezTo>
                <a:close/>
              </a:path>
            </a:pathLst>
          </a:custGeom>
          <a:solidFill>
            <a:srgbClr val="97BE0D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97BE0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9FA2495-A1D5-359D-3A4C-B8E3D87793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64444" y="485524"/>
            <a:ext cx="3406083" cy="5160295"/>
          </a:xfrm>
          <a:custGeom>
            <a:avLst/>
            <a:gdLst>
              <a:gd name="connsiteX0" fmla="*/ 3303314 w 3406083"/>
              <a:gd name="connsiteY0" fmla="*/ 31 h 5160295"/>
              <a:gd name="connsiteX1" fmla="*/ 3406083 w 3406083"/>
              <a:gd name="connsiteY1" fmla="*/ 169464 h 5160295"/>
              <a:gd name="connsiteX2" fmla="*/ 3406083 w 3406083"/>
              <a:gd name="connsiteY2" fmla="*/ 1716618 h 5160295"/>
              <a:gd name="connsiteX3" fmla="*/ 3172646 w 3406083"/>
              <a:gd name="connsiteY3" fmla="*/ 2264681 h 5160295"/>
              <a:gd name="connsiteX4" fmla="*/ 232119 w 3406083"/>
              <a:gd name="connsiteY4" fmla="*/ 5090137 h 5160295"/>
              <a:gd name="connsiteX5" fmla="*/ 4 w 3406083"/>
              <a:gd name="connsiteY5" fmla="*/ 4990687 h 5160295"/>
              <a:gd name="connsiteX6" fmla="*/ 6166 w 3406083"/>
              <a:gd name="connsiteY6" fmla="*/ 3443528 h 5160295"/>
              <a:gd name="connsiteX7" fmla="*/ 240700 w 3406083"/>
              <a:gd name="connsiteY7" fmla="*/ 2895251 h 5160295"/>
              <a:gd name="connsiteX8" fmla="*/ 3172865 w 3406083"/>
              <a:gd name="connsiteY8" fmla="*/ 70233 h 5160295"/>
              <a:gd name="connsiteX9" fmla="*/ 3303314 w 3406083"/>
              <a:gd name="connsiteY9" fmla="*/ 31 h 5160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6083" h="5160295">
                <a:moveTo>
                  <a:pt x="3303314" y="31"/>
                </a:moveTo>
                <a:cubicBezTo>
                  <a:pt x="3365344" y="-1533"/>
                  <a:pt x="3406083" y="57665"/>
                  <a:pt x="3406083" y="169464"/>
                </a:cubicBezTo>
                <a:lnTo>
                  <a:pt x="3406083" y="1716618"/>
                </a:lnTo>
                <a:cubicBezTo>
                  <a:pt x="3406083" y="1895495"/>
                  <a:pt x="3301573" y="2140810"/>
                  <a:pt x="3172646" y="2264681"/>
                </a:cubicBezTo>
                <a:lnTo>
                  <a:pt x="232119" y="5090137"/>
                </a:lnTo>
                <a:cubicBezTo>
                  <a:pt x="103193" y="5214003"/>
                  <a:pt x="-657" y="5169560"/>
                  <a:pt x="4" y="4990687"/>
                </a:cubicBezTo>
                <a:lnTo>
                  <a:pt x="6166" y="3443528"/>
                </a:lnTo>
                <a:cubicBezTo>
                  <a:pt x="6166" y="3264656"/>
                  <a:pt x="111992" y="3019336"/>
                  <a:pt x="240700" y="2895251"/>
                </a:cubicBezTo>
                <a:lnTo>
                  <a:pt x="3172865" y="70233"/>
                </a:lnTo>
                <a:cubicBezTo>
                  <a:pt x="3221213" y="23783"/>
                  <a:pt x="3266096" y="970"/>
                  <a:pt x="3303314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D1D6D523-EADE-F210-3F75-A6B0EFC0B13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491370" y="2460289"/>
            <a:ext cx="1700630" cy="3671626"/>
          </a:xfrm>
          <a:custGeom>
            <a:avLst/>
            <a:gdLst>
              <a:gd name="connsiteX0" fmla="*/ 1700630 w 1700630"/>
              <a:gd name="connsiteY0" fmla="*/ 0 h 3671626"/>
              <a:gd name="connsiteX1" fmla="*/ 1700630 w 1700630"/>
              <a:gd name="connsiteY1" fmla="*/ 2190424 h 3671626"/>
              <a:gd name="connsiteX2" fmla="*/ 232119 w 1700630"/>
              <a:gd name="connsiteY2" fmla="*/ 3601468 h 3671626"/>
              <a:gd name="connsiteX3" fmla="*/ 4 w 1700630"/>
              <a:gd name="connsiteY3" fmla="*/ 3502018 h 3671626"/>
              <a:gd name="connsiteX4" fmla="*/ 6166 w 1700630"/>
              <a:gd name="connsiteY4" fmla="*/ 1954859 h 3671626"/>
              <a:gd name="connsiteX5" fmla="*/ 240700 w 1700630"/>
              <a:gd name="connsiteY5" fmla="*/ 1406582 h 3671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00630" h="3671626">
                <a:moveTo>
                  <a:pt x="1700630" y="0"/>
                </a:moveTo>
                <a:lnTo>
                  <a:pt x="1700630" y="2190424"/>
                </a:lnTo>
                <a:lnTo>
                  <a:pt x="232119" y="3601468"/>
                </a:lnTo>
                <a:cubicBezTo>
                  <a:pt x="103193" y="3725334"/>
                  <a:pt x="-657" y="3680891"/>
                  <a:pt x="4" y="3502018"/>
                </a:cubicBezTo>
                <a:lnTo>
                  <a:pt x="6166" y="1954859"/>
                </a:lnTo>
                <a:cubicBezTo>
                  <a:pt x="6166" y="1775987"/>
                  <a:pt x="111992" y="1530667"/>
                  <a:pt x="240700" y="140658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21" name="Text Placeholder 16">
            <a:extLst>
              <a:ext uri="{FF2B5EF4-FFF2-40B4-BE49-F238E27FC236}">
                <a16:creationId xmlns:a16="http://schemas.microsoft.com/office/drawing/2014/main" id="{CCF577C4-D10B-FC22-6AFC-EC87A21D9B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1764973"/>
            <a:ext cx="708511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2" name="Title 6">
            <a:extLst>
              <a:ext uri="{FF2B5EF4-FFF2-40B4-BE49-F238E27FC236}">
                <a16:creationId xmlns:a16="http://schemas.microsoft.com/office/drawing/2014/main" id="{7FE99AF3-5C6C-E5CD-E0DD-63B9AEBD90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66" y="332657"/>
            <a:ext cx="8121230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6" name="Text Placeholder 125">
            <a:extLst>
              <a:ext uri="{FF2B5EF4-FFF2-40B4-BE49-F238E27FC236}">
                <a16:creationId xmlns:a16="http://schemas.microsoft.com/office/drawing/2014/main" id="{C359EBD3-8738-6B0B-29FD-C84B5ECD72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251122" y="3675471"/>
            <a:ext cx="2940879" cy="3182529"/>
          </a:xfrm>
          <a:custGeom>
            <a:avLst/>
            <a:gdLst>
              <a:gd name="connsiteX0" fmla="*/ 107145 w 2940879"/>
              <a:gd name="connsiteY0" fmla="*/ 32 h 3182529"/>
              <a:gd name="connsiteX1" fmla="*/ 243149 w 2940879"/>
              <a:gd name="connsiteY1" fmla="*/ 73223 h 3182529"/>
              <a:gd name="connsiteX2" fmla="*/ 2940879 w 2940879"/>
              <a:gd name="connsiteY2" fmla="*/ 2672374 h 3182529"/>
              <a:gd name="connsiteX3" fmla="*/ 2940879 w 2940879"/>
              <a:gd name="connsiteY3" fmla="*/ 3182529 h 3182529"/>
              <a:gd name="connsiteX4" fmla="*/ 1098241 w 2940879"/>
              <a:gd name="connsiteY4" fmla="*/ 3182529 h 3182529"/>
              <a:gd name="connsiteX5" fmla="*/ 243376 w 2940879"/>
              <a:gd name="connsiteY5" fmla="*/ 2361118 h 3182529"/>
              <a:gd name="connsiteX6" fmla="*/ 0 w 2940879"/>
              <a:gd name="connsiteY6" fmla="*/ 1789717 h 3182529"/>
              <a:gd name="connsiteX7" fmla="*/ 0 w 2940879"/>
              <a:gd name="connsiteY7" fmla="*/ 176679 h 3182529"/>
              <a:gd name="connsiteX8" fmla="*/ 107145 w 2940879"/>
              <a:gd name="connsiteY8" fmla="*/ 32 h 3182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40879" h="3182529">
                <a:moveTo>
                  <a:pt x="107145" y="32"/>
                </a:moveTo>
                <a:cubicBezTo>
                  <a:pt x="145948" y="1011"/>
                  <a:pt x="192743" y="24795"/>
                  <a:pt x="243149" y="73223"/>
                </a:cubicBezTo>
                <a:lnTo>
                  <a:pt x="2940879" y="2672374"/>
                </a:lnTo>
                <a:lnTo>
                  <a:pt x="2940879" y="3182529"/>
                </a:lnTo>
                <a:lnTo>
                  <a:pt x="1098241" y="3182529"/>
                </a:lnTo>
                <a:lnTo>
                  <a:pt x="243376" y="2361118"/>
                </a:lnTo>
                <a:cubicBezTo>
                  <a:pt x="108960" y="2231972"/>
                  <a:pt x="0" y="1976211"/>
                  <a:pt x="0" y="1789717"/>
                </a:cubicBezTo>
                <a:lnTo>
                  <a:pt x="0" y="176679"/>
                </a:lnTo>
                <a:cubicBezTo>
                  <a:pt x="0" y="60120"/>
                  <a:pt x="42474" y="-1599"/>
                  <a:pt x="107145" y="32"/>
                </a:cubicBezTo>
                <a:close/>
              </a:path>
            </a:pathLst>
          </a:custGeom>
          <a:solidFill>
            <a:schemeClr val="accent1">
              <a:alpha val="2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  <a:lvl2pPr algn="ctr">
              <a:defRPr sz="100">
                <a:solidFill>
                  <a:schemeClr val="tx2">
                    <a:alpha val="0"/>
                  </a:schemeClr>
                </a:solidFill>
              </a:defRPr>
            </a:lvl2pPr>
            <a:lvl3pPr algn="ctr">
              <a:defRPr sz="100">
                <a:solidFill>
                  <a:schemeClr val="tx2">
                    <a:alpha val="0"/>
                  </a:schemeClr>
                </a:solidFill>
              </a:defRPr>
            </a:lvl3pPr>
            <a:lvl4pPr algn="ctr">
              <a:defRPr sz="100">
                <a:solidFill>
                  <a:schemeClr val="tx2">
                    <a:alpha val="0"/>
                  </a:schemeClr>
                </a:solidFill>
              </a:defRPr>
            </a:lvl4pPr>
            <a:lvl5pPr algn="ctr">
              <a:defRPr sz="100">
                <a:solidFill>
                  <a:schemeClr val="tx2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30938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60A12CD6-1AE5-31AC-6CBD-D78E36BEC3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615856" cy="6618150"/>
          </a:xfrm>
          <a:custGeom>
            <a:avLst/>
            <a:gdLst>
              <a:gd name="connsiteX0" fmla="*/ 1344078 w 4615856"/>
              <a:gd name="connsiteY0" fmla="*/ 0 h 6618150"/>
              <a:gd name="connsiteX1" fmla="*/ 4615856 w 4615856"/>
              <a:gd name="connsiteY1" fmla="*/ 0 h 6618150"/>
              <a:gd name="connsiteX2" fmla="*/ 4610309 w 4615856"/>
              <a:gd name="connsiteY2" fmla="*/ 1392694 h 6618150"/>
              <a:gd name="connsiteX3" fmla="*/ 4040106 w 4615856"/>
              <a:gd name="connsiteY3" fmla="*/ 2725675 h 6618150"/>
              <a:gd name="connsiteX4" fmla="*/ 0 w 4615856"/>
              <a:gd name="connsiteY4" fmla="*/ 6618150 h 6618150"/>
              <a:gd name="connsiteX5" fmla="*/ 0 w 4615856"/>
              <a:gd name="connsiteY5" fmla="*/ 1291480 h 661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15856" h="6618150">
                <a:moveTo>
                  <a:pt x="1344078" y="0"/>
                </a:moveTo>
                <a:lnTo>
                  <a:pt x="4615856" y="0"/>
                </a:lnTo>
                <a:lnTo>
                  <a:pt x="4610309" y="1392694"/>
                </a:lnTo>
                <a:cubicBezTo>
                  <a:pt x="4610309" y="1827572"/>
                  <a:pt x="4353024" y="2423997"/>
                  <a:pt x="4040106" y="2725675"/>
                </a:cubicBezTo>
                <a:lnTo>
                  <a:pt x="0" y="6618150"/>
                </a:lnTo>
                <a:lnTo>
                  <a:pt x="0" y="1291480"/>
                </a:lnTo>
                <a:close/>
              </a:path>
            </a:pathLst>
          </a:custGeom>
          <a:solidFill>
            <a:srgbClr val="E9473D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E9473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F96BB9A3-8C09-67E4-18D2-E9474749C7D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1561486" cy="2741836"/>
          </a:xfrm>
          <a:custGeom>
            <a:avLst/>
            <a:gdLst>
              <a:gd name="connsiteX0" fmla="*/ 971743 w 1561486"/>
              <a:gd name="connsiteY0" fmla="*/ 0 h 2741836"/>
              <a:gd name="connsiteX1" fmla="*/ 1561486 w 1561486"/>
              <a:gd name="connsiteY1" fmla="*/ 0 h 2741836"/>
              <a:gd name="connsiteX2" fmla="*/ 1561486 w 1561486"/>
              <a:gd name="connsiteY2" fmla="*/ 974513 h 2741836"/>
              <a:gd name="connsiteX3" fmla="*/ 1369018 w 1561486"/>
              <a:gd name="connsiteY3" fmla="*/ 1426392 h 2741836"/>
              <a:gd name="connsiteX4" fmla="*/ 0 w 1561486"/>
              <a:gd name="connsiteY4" fmla="*/ 2741836 h 2741836"/>
              <a:gd name="connsiteX5" fmla="*/ 0 w 1561486"/>
              <a:gd name="connsiteY5" fmla="*/ 936234 h 2741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61486" h="2741836">
                <a:moveTo>
                  <a:pt x="971743" y="0"/>
                </a:moveTo>
                <a:lnTo>
                  <a:pt x="1561486" y="0"/>
                </a:lnTo>
                <a:lnTo>
                  <a:pt x="1561486" y="974513"/>
                </a:lnTo>
                <a:cubicBezTo>
                  <a:pt x="1561486" y="1121998"/>
                  <a:pt x="1475318" y="1324260"/>
                  <a:pt x="1369018" y="1426392"/>
                </a:cubicBezTo>
                <a:lnTo>
                  <a:pt x="0" y="2741836"/>
                </a:lnTo>
                <a:lnTo>
                  <a:pt x="0" y="936234"/>
                </a:ln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E8EC4792-EFE6-C3F8-AAB0-E0DF3A411A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23743" y="451475"/>
            <a:ext cx="4468257" cy="6406525"/>
          </a:xfrm>
          <a:custGeom>
            <a:avLst/>
            <a:gdLst>
              <a:gd name="connsiteX0" fmla="*/ 3647728 w 3647728"/>
              <a:gd name="connsiteY0" fmla="*/ 0 h 5230062"/>
              <a:gd name="connsiteX1" fmla="*/ 3647728 w 3647728"/>
              <a:gd name="connsiteY1" fmla="*/ 4209457 h 5230062"/>
              <a:gd name="connsiteX2" fmla="*/ 2585556 w 3647728"/>
              <a:gd name="connsiteY2" fmla="*/ 5230062 h 5230062"/>
              <a:gd name="connsiteX3" fmla="*/ 0 w 3647728"/>
              <a:gd name="connsiteY3" fmla="*/ 5230062 h 5230062"/>
              <a:gd name="connsiteX4" fmla="*/ 4384 w 3647728"/>
              <a:gd name="connsiteY4" fmla="*/ 4129471 h 5230062"/>
              <a:gd name="connsiteX5" fmla="*/ 454992 w 3647728"/>
              <a:gd name="connsiteY5" fmla="*/ 3076069 h 523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47728" h="5230062">
                <a:moveTo>
                  <a:pt x="3647728" y="0"/>
                </a:moveTo>
                <a:lnTo>
                  <a:pt x="3647728" y="4209457"/>
                </a:lnTo>
                <a:lnTo>
                  <a:pt x="2585556" y="5230062"/>
                </a:lnTo>
                <a:lnTo>
                  <a:pt x="0" y="5230062"/>
                </a:lnTo>
                <a:lnTo>
                  <a:pt x="4384" y="4129471"/>
                </a:lnTo>
                <a:cubicBezTo>
                  <a:pt x="4384" y="3785804"/>
                  <a:pt x="207706" y="3314473"/>
                  <a:pt x="454992" y="3076069"/>
                </a:cubicBezTo>
                <a:close/>
              </a:path>
            </a:pathLst>
          </a:custGeom>
          <a:solidFill>
            <a:schemeClr val="accent6">
              <a:alpha val="1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DF36CEAF-0A9E-1D9A-28DA-EB9C2D87E0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8" name="Title 6">
            <a:extLst>
              <a:ext uri="{FF2B5EF4-FFF2-40B4-BE49-F238E27FC236}">
                <a16:creationId xmlns:a16="http://schemas.microsoft.com/office/drawing/2014/main" id="{D564B358-2F1B-8D24-C7D9-4DFE56712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93F567A-D2B4-8E05-AC49-6EFEFF7B1B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" y="-2259"/>
            <a:ext cx="2943041" cy="4906132"/>
          </a:xfrm>
          <a:custGeom>
            <a:avLst/>
            <a:gdLst>
              <a:gd name="connsiteX0" fmla="*/ 2838364 w 2943041"/>
              <a:gd name="connsiteY0" fmla="*/ 31 h 4906132"/>
              <a:gd name="connsiteX1" fmla="*/ 2943041 w 2943041"/>
              <a:gd name="connsiteY1" fmla="*/ 172609 h 4906132"/>
              <a:gd name="connsiteX2" fmla="*/ 2943041 w 2943041"/>
              <a:gd name="connsiteY2" fmla="*/ 1748488 h 4906132"/>
              <a:gd name="connsiteX3" fmla="*/ 2705270 w 2943041"/>
              <a:gd name="connsiteY3" fmla="*/ 2306727 h 4906132"/>
              <a:gd name="connsiteX4" fmla="*/ 0 w 2943041"/>
              <a:gd name="connsiteY4" fmla="*/ 4906132 h 4906132"/>
              <a:gd name="connsiteX5" fmla="*/ 0 w 2943041"/>
              <a:gd name="connsiteY5" fmla="*/ 2678164 h 4906132"/>
              <a:gd name="connsiteX6" fmla="*/ 2705493 w 2943041"/>
              <a:gd name="connsiteY6" fmla="*/ 71535 h 4906132"/>
              <a:gd name="connsiteX7" fmla="*/ 2838364 w 2943041"/>
              <a:gd name="connsiteY7" fmla="*/ 31 h 4906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3041" h="4906132">
                <a:moveTo>
                  <a:pt x="2838364" y="31"/>
                </a:moveTo>
                <a:cubicBezTo>
                  <a:pt x="2901546" y="-1562"/>
                  <a:pt x="2943041" y="58735"/>
                  <a:pt x="2943041" y="172609"/>
                </a:cubicBezTo>
                <a:lnTo>
                  <a:pt x="2943041" y="1748488"/>
                </a:lnTo>
                <a:cubicBezTo>
                  <a:pt x="2943041" y="1930687"/>
                  <a:pt x="2836590" y="2180556"/>
                  <a:pt x="2705270" y="2306727"/>
                </a:cubicBezTo>
                <a:lnTo>
                  <a:pt x="0" y="4906132"/>
                </a:lnTo>
                <a:lnTo>
                  <a:pt x="0" y="2678164"/>
                </a:lnTo>
                <a:lnTo>
                  <a:pt x="2705493" y="71535"/>
                </a:lnTo>
                <a:cubicBezTo>
                  <a:pt x="2754738" y="24223"/>
                  <a:pt x="2800454" y="987"/>
                  <a:pt x="2838364" y="3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EC731905-C1E9-3DDA-A8B0-34C9326F3D1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468316"/>
            <a:ext cx="2304114" cy="3389685"/>
          </a:xfrm>
          <a:custGeom>
            <a:avLst/>
            <a:gdLst>
              <a:gd name="connsiteX0" fmla="*/ 0 w 2304114"/>
              <a:gd name="connsiteY0" fmla="*/ 0 h 3389685"/>
              <a:gd name="connsiteX1" fmla="*/ 2098668 w 2304114"/>
              <a:gd name="connsiteY1" fmla="*/ 2021980 h 3389685"/>
              <a:gd name="connsiteX2" fmla="*/ 2300546 w 2304114"/>
              <a:gd name="connsiteY2" fmla="*/ 2493915 h 3389685"/>
              <a:gd name="connsiteX3" fmla="*/ 2304114 w 2304114"/>
              <a:gd name="connsiteY3" fmla="*/ 3389685 h 3389685"/>
              <a:gd name="connsiteX4" fmla="*/ 1563249 w 2304114"/>
              <a:gd name="connsiteY4" fmla="*/ 3389685 h 3389685"/>
              <a:gd name="connsiteX5" fmla="*/ 0 w 2304114"/>
              <a:gd name="connsiteY5" fmla="*/ 1887611 h 3389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04114" h="3389685">
                <a:moveTo>
                  <a:pt x="0" y="0"/>
                </a:moveTo>
                <a:lnTo>
                  <a:pt x="2098668" y="2021980"/>
                </a:lnTo>
                <a:cubicBezTo>
                  <a:pt x="2209455" y="2128787"/>
                  <a:pt x="2300546" y="2339949"/>
                  <a:pt x="2300546" y="2493915"/>
                </a:cubicBezTo>
                <a:lnTo>
                  <a:pt x="2304114" y="3389685"/>
                </a:lnTo>
                <a:lnTo>
                  <a:pt x="1563249" y="3389685"/>
                </a:lnTo>
                <a:lnTo>
                  <a:pt x="0" y="1887611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BCE7D32B-E0F9-2767-710D-290C21B5811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40321" y="3414634"/>
            <a:ext cx="3783257" cy="3443367"/>
          </a:xfrm>
          <a:custGeom>
            <a:avLst/>
            <a:gdLst>
              <a:gd name="connsiteX0" fmla="*/ 134159 w 3783257"/>
              <a:gd name="connsiteY0" fmla="*/ 40 h 3443367"/>
              <a:gd name="connsiteX1" fmla="*/ 304452 w 3783257"/>
              <a:gd name="connsiteY1" fmla="*/ 91683 h 3443367"/>
              <a:gd name="connsiteX2" fmla="*/ 3783257 w 3783257"/>
              <a:gd name="connsiteY2" fmla="*/ 3443367 h 3443367"/>
              <a:gd name="connsiteX3" fmla="*/ 811536 w 3783257"/>
              <a:gd name="connsiteY3" fmla="*/ 3443367 h 3443367"/>
              <a:gd name="connsiteX4" fmla="*/ 304737 w 3783257"/>
              <a:gd name="connsiteY4" fmla="*/ 2956400 h 3443367"/>
              <a:gd name="connsiteX5" fmla="*/ 0 w 3783257"/>
              <a:gd name="connsiteY5" fmla="*/ 2240937 h 3443367"/>
              <a:gd name="connsiteX6" fmla="*/ 0 w 3783257"/>
              <a:gd name="connsiteY6" fmla="*/ 221223 h 3443367"/>
              <a:gd name="connsiteX7" fmla="*/ 134159 w 3783257"/>
              <a:gd name="connsiteY7" fmla="*/ 40 h 3443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83257" h="3443367">
                <a:moveTo>
                  <a:pt x="134159" y="40"/>
                </a:moveTo>
                <a:cubicBezTo>
                  <a:pt x="182745" y="1265"/>
                  <a:pt x="241337" y="31046"/>
                  <a:pt x="304452" y="91683"/>
                </a:cubicBezTo>
                <a:lnTo>
                  <a:pt x="3783257" y="3443367"/>
                </a:lnTo>
                <a:lnTo>
                  <a:pt x="811536" y="3443367"/>
                </a:lnTo>
                <a:lnTo>
                  <a:pt x="304737" y="2956400"/>
                </a:lnTo>
                <a:cubicBezTo>
                  <a:pt x="136431" y="2794693"/>
                  <a:pt x="0" y="2474450"/>
                  <a:pt x="0" y="2240937"/>
                </a:cubicBezTo>
                <a:lnTo>
                  <a:pt x="0" y="221223"/>
                </a:lnTo>
                <a:cubicBezTo>
                  <a:pt x="0" y="75278"/>
                  <a:pt x="53182" y="-2002"/>
                  <a:pt x="134159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70034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60A12CD6-1AE5-31AC-6CBD-D78E36BEC3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615856" cy="6618150"/>
          </a:xfrm>
          <a:custGeom>
            <a:avLst/>
            <a:gdLst>
              <a:gd name="connsiteX0" fmla="*/ 1344078 w 4615856"/>
              <a:gd name="connsiteY0" fmla="*/ 0 h 6618150"/>
              <a:gd name="connsiteX1" fmla="*/ 4615856 w 4615856"/>
              <a:gd name="connsiteY1" fmla="*/ 0 h 6618150"/>
              <a:gd name="connsiteX2" fmla="*/ 4610309 w 4615856"/>
              <a:gd name="connsiteY2" fmla="*/ 1392694 h 6618150"/>
              <a:gd name="connsiteX3" fmla="*/ 4040106 w 4615856"/>
              <a:gd name="connsiteY3" fmla="*/ 2725675 h 6618150"/>
              <a:gd name="connsiteX4" fmla="*/ 0 w 4615856"/>
              <a:gd name="connsiteY4" fmla="*/ 6618150 h 6618150"/>
              <a:gd name="connsiteX5" fmla="*/ 0 w 4615856"/>
              <a:gd name="connsiteY5" fmla="*/ 1291480 h 661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15856" h="6618150">
                <a:moveTo>
                  <a:pt x="1344078" y="0"/>
                </a:moveTo>
                <a:lnTo>
                  <a:pt x="4615856" y="0"/>
                </a:lnTo>
                <a:lnTo>
                  <a:pt x="4610309" y="1392694"/>
                </a:lnTo>
                <a:cubicBezTo>
                  <a:pt x="4610309" y="1827572"/>
                  <a:pt x="4353024" y="2423997"/>
                  <a:pt x="4040106" y="2725675"/>
                </a:cubicBezTo>
                <a:lnTo>
                  <a:pt x="0" y="6618150"/>
                </a:lnTo>
                <a:lnTo>
                  <a:pt x="0" y="1291480"/>
                </a:lnTo>
                <a:close/>
              </a:path>
            </a:pathLst>
          </a:custGeom>
          <a:solidFill>
            <a:srgbClr val="7E003F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E9473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93F567A-D2B4-8E05-AC49-6EFEFF7B1B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" y="-2259"/>
            <a:ext cx="2943041" cy="4906132"/>
          </a:xfrm>
          <a:custGeom>
            <a:avLst/>
            <a:gdLst>
              <a:gd name="connsiteX0" fmla="*/ 2838364 w 2943041"/>
              <a:gd name="connsiteY0" fmla="*/ 31 h 4906132"/>
              <a:gd name="connsiteX1" fmla="*/ 2943041 w 2943041"/>
              <a:gd name="connsiteY1" fmla="*/ 172609 h 4906132"/>
              <a:gd name="connsiteX2" fmla="*/ 2943041 w 2943041"/>
              <a:gd name="connsiteY2" fmla="*/ 1748488 h 4906132"/>
              <a:gd name="connsiteX3" fmla="*/ 2705270 w 2943041"/>
              <a:gd name="connsiteY3" fmla="*/ 2306727 h 4906132"/>
              <a:gd name="connsiteX4" fmla="*/ 0 w 2943041"/>
              <a:gd name="connsiteY4" fmla="*/ 4906132 h 4906132"/>
              <a:gd name="connsiteX5" fmla="*/ 0 w 2943041"/>
              <a:gd name="connsiteY5" fmla="*/ 2678164 h 4906132"/>
              <a:gd name="connsiteX6" fmla="*/ 2705493 w 2943041"/>
              <a:gd name="connsiteY6" fmla="*/ 71535 h 4906132"/>
              <a:gd name="connsiteX7" fmla="*/ 2838364 w 2943041"/>
              <a:gd name="connsiteY7" fmla="*/ 31 h 4906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3041" h="4906132">
                <a:moveTo>
                  <a:pt x="2838364" y="31"/>
                </a:moveTo>
                <a:cubicBezTo>
                  <a:pt x="2901546" y="-1562"/>
                  <a:pt x="2943041" y="58735"/>
                  <a:pt x="2943041" y="172609"/>
                </a:cubicBezTo>
                <a:lnTo>
                  <a:pt x="2943041" y="1748488"/>
                </a:lnTo>
                <a:cubicBezTo>
                  <a:pt x="2943041" y="1930687"/>
                  <a:pt x="2836590" y="2180556"/>
                  <a:pt x="2705270" y="2306727"/>
                </a:cubicBezTo>
                <a:lnTo>
                  <a:pt x="0" y="4906132"/>
                </a:lnTo>
                <a:lnTo>
                  <a:pt x="0" y="2678164"/>
                </a:lnTo>
                <a:lnTo>
                  <a:pt x="2705493" y="71535"/>
                </a:lnTo>
                <a:cubicBezTo>
                  <a:pt x="2754738" y="24223"/>
                  <a:pt x="2800454" y="987"/>
                  <a:pt x="2838364" y="3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F96BB9A3-8C09-67E4-18D2-E9474749C7D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 flipV="1">
            <a:off x="0" y="4116164"/>
            <a:ext cx="1561486" cy="2741836"/>
          </a:xfrm>
          <a:custGeom>
            <a:avLst/>
            <a:gdLst>
              <a:gd name="connsiteX0" fmla="*/ 971743 w 1561486"/>
              <a:gd name="connsiteY0" fmla="*/ 0 h 2741836"/>
              <a:gd name="connsiteX1" fmla="*/ 1561486 w 1561486"/>
              <a:gd name="connsiteY1" fmla="*/ 0 h 2741836"/>
              <a:gd name="connsiteX2" fmla="*/ 1561486 w 1561486"/>
              <a:gd name="connsiteY2" fmla="*/ 974513 h 2741836"/>
              <a:gd name="connsiteX3" fmla="*/ 1369018 w 1561486"/>
              <a:gd name="connsiteY3" fmla="*/ 1426392 h 2741836"/>
              <a:gd name="connsiteX4" fmla="*/ 0 w 1561486"/>
              <a:gd name="connsiteY4" fmla="*/ 2741836 h 2741836"/>
              <a:gd name="connsiteX5" fmla="*/ 0 w 1561486"/>
              <a:gd name="connsiteY5" fmla="*/ 936234 h 2741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61486" h="2741836">
                <a:moveTo>
                  <a:pt x="971743" y="0"/>
                </a:moveTo>
                <a:lnTo>
                  <a:pt x="1561486" y="0"/>
                </a:lnTo>
                <a:lnTo>
                  <a:pt x="1561486" y="974513"/>
                </a:lnTo>
                <a:cubicBezTo>
                  <a:pt x="1561486" y="1121998"/>
                  <a:pt x="1475318" y="1324260"/>
                  <a:pt x="1369018" y="1426392"/>
                </a:cubicBezTo>
                <a:lnTo>
                  <a:pt x="0" y="2741836"/>
                </a:lnTo>
                <a:lnTo>
                  <a:pt x="0" y="936234"/>
                </a:lnTo>
                <a:close/>
              </a:path>
            </a:pathLst>
          </a:custGeom>
          <a:solidFill>
            <a:srgbClr val="38B6AB">
              <a:alpha val="2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E8EC4792-EFE6-C3F8-AAB0-E0DF3A411A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23743" y="451475"/>
            <a:ext cx="4468257" cy="6406525"/>
          </a:xfrm>
          <a:custGeom>
            <a:avLst/>
            <a:gdLst>
              <a:gd name="connsiteX0" fmla="*/ 3647728 w 3647728"/>
              <a:gd name="connsiteY0" fmla="*/ 0 h 5230062"/>
              <a:gd name="connsiteX1" fmla="*/ 3647728 w 3647728"/>
              <a:gd name="connsiteY1" fmla="*/ 4209457 h 5230062"/>
              <a:gd name="connsiteX2" fmla="*/ 2585556 w 3647728"/>
              <a:gd name="connsiteY2" fmla="*/ 5230062 h 5230062"/>
              <a:gd name="connsiteX3" fmla="*/ 0 w 3647728"/>
              <a:gd name="connsiteY3" fmla="*/ 5230062 h 5230062"/>
              <a:gd name="connsiteX4" fmla="*/ 4384 w 3647728"/>
              <a:gd name="connsiteY4" fmla="*/ 4129471 h 5230062"/>
              <a:gd name="connsiteX5" fmla="*/ 454992 w 3647728"/>
              <a:gd name="connsiteY5" fmla="*/ 3076069 h 523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47728" h="5230062">
                <a:moveTo>
                  <a:pt x="3647728" y="0"/>
                </a:moveTo>
                <a:lnTo>
                  <a:pt x="3647728" y="4209457"/>
                </a:lnTo>
                <a:lnTo>
                  <a:pt x="2585556" y="5230062"/>
                </a:lnTo>
                <a:lnTo>
                  <a:pt x="0" y="5230062"/>
                </a:lnTo>
                <a:lnTo>
                  <a:pt x="4384" y="4129471"/>
                </a:lnTo>
                <a:cubicBezTo>
                  <a:pt x="4384" y="3785804"/>
                  <a:pt x="207706" y="3314473"/>
                  <a:pt x="454992" y="3076069"/>
                </a:cubicBezTo>
                <a:close/>
              </a:path>
            </a:pathLst>
          </a:custGeom>
          <a:solidFill>
            <a:srgbClr val="F07E26">
              <a:alpha val="1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DF36CEAF-0A9E-1D9A-28DA-EB9C2D87E0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8" name="Title 6">
            <a:extLst>
              <a:ext uri="{FF2B5EF4-FFF2-40B4-BE49-F238E27FC236}">
                <a16:creationId xmlns:a16="http://schemas.microsoft.com/office/drawing/2014/main" id="{D564B358-2F1B-8D24-C7D9-4DFE56712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BCE7D32B-E0F9-2767-710D-290C21B5811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40321" y="3414634"/>
            <a:ext cx="3783257" cy="3443367"/>
          </a:xfrm>
          <a:custGeom>
            <a:avLst/>
            <a:gdLst>
              <a:gd name="connsiteX0" fmla="*/ 134159 w 3783257"/>
              <a:gd name="connsiteY0" fmla="*/ 40 h 3443367"/>
              <a:gd name="connsiteX1" fmla="*/ 304452 w 3783257"/>
              <a:gd name="connsiteY1" fmla="*/ 91683 h 3443367"/>
              <a:gd name="connsiteX2" fmla="*/ 3783257 w 3783257"/>
              <a:gd name="connsiteY2" fmla="*/ 3443367 h 3443367"/>
              <a:gd name="connsiteX3" fmla="*/ 811536 w 3783257"/>
              <a:gd name="connsiteY3" fmla="*/ 3443367 h 3443367"/>
              <a:gd name="connsiteX4" fmla="*/ 304737 w 3783257"/>
              <a:gd name="connsiteY4" fmla="*/ 2956400 h 3443367"/>
              <a:gd name="connsiteX5" fmla="*/ 0 w 3783257"/>
              <a:gd name="connsiteY5" fmla="*/ 2240937 h 3443367"/>
              <a:gd name="connsiteX6" fmla="*/ 0 w 3783257"/>
              <a:gd name="connsiteY6" fmla="*/ 221223 h 3443367"/>
              <a:gd name="connsiteX7" fmla="*/ 134159 w 3783257"/>
              <a:gd name="connsiteY7" fmla="*/ 40 h 3443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83257" h="3443367">
                <a:moveTo>
                  <a:pt x="134159" y="40"/>
                </a:moveTo>
                <a:cubicBezTo>
                  <a:pt x="182745" y="1265"/>
                  <a:pt x="241337" y="31046"/>
                  <a:pt x="304452" y="91683"/>
                </a:cubicBezTo>
                <a:lnTo>
                  <a:pt x="3783257" y="3443367"/>
                </a:lnTo>
                <a:lnTo>
                  <a:pt x="811536" y="3443367"/>
                </a:lnTo>
                <a:lnTo>
                  <a:pt x="304737" y="2956400"/>
                </a:lnTo>
                <a:cubicBezTo>
                  <a:pt x="136431" y="2794693"/>
                  <a:pt x="0" y="2474450"/>
                  <a:pt x="0" y="2240937"/>
                </a:cubicBezTo>
                <a:lnTo>
                  <a:pt x="0" y="221223"/>
                </a:lnTo>
                <a:cubicBezTo>
                  <a:pt x="0" y="75278"/>
                  <a:pt x="53182" y="-2002"/>
                  <a:pt x="134159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37134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EB120B9A-364A-AB0B-366A-FF46B2CBE37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2621" y="550872"/>
            <a:ext cx="3229379" cy="6307128"/>
          </a:xfrm>
          <a:custGeom>
            <a:avLst/>
            <a:gdLst>
              <a:gd name="connsiteX0" fmla="*/ 3229379 w 3229379"/>
              <a:gd name="connsiteY0" fmla="*/ 0 h 6307128"/>
              <a:gd name="connsiteX1" fmla="*/ 3229379 w 3229379"/>
              <a:gd name="connsiteY1" fmla="*/ 3598208 h 6307128"/>
              <a:gd name="connsiteX2" fmla="*/ 3229379 w 3229379"/>
              <a:gd name="connsiteY2" fmla="*/ 3808777 h 6307128"/>
              <a:gd name="connsiteX3" fmla="*/ 3229379 w 3229379"/>
              <a:gd name="connsiteY3" fmla="*/ 6307128 h 6307128"/>
              <a:gd name="connsiteX4" fmla="*/ 636271 w 3229379"/>
              <a:gd name="connsiteY4" fmla="*/ 6307128 h 6307128"/>
              <a:gd name="connsiteX5" fmla="*/ 1 w 3229379"/>
              <a:gd name="connsiteY5" fmla="*/ 6307128 h 6307128"/>
              <a:gd name="connsiteX6" fmla="*/ 0 w 3229379"/>
              <a:gd name="connsiteY6" fmla="*/ 6307128 h 6307128"/>
              <a:gd name="connsiteX7" fmla="*/ 0 w 3229379"/>
              <a:gd name="connsiteY7" fmla="*/ 3598208 h 6307128"/>
              <a:gd name="connsiteX8" fmla="*/ 4610 w 3229379"/>
              <a:gd name="connsiteY8" fmla="*/ 3598208 h 6307128"/>
              <a:gd name="connsiteX9" fmla="*/ 8249 w 3229379"/>
              <a:gd name="connsiteY9" fmla="*/ 3544634 h 6307128"/>
              <a:gd name="connsiteX10" fmla="*/ 405979 w 3229379"/>
              <a:gd name="connsiteY10" fmla="*/ 2712911 h 63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29379" h="6307128">
                <a:moveTo>
                  <a:pt x="3229379" y="0"/>
                </a:moveTo>
                <a:lnTo>
                  <a:pt x="3229379" y="3598208"/>
                </a:lnTo>
                <a:lnTo>
                  <a:pt x="3229379" y="3808777"/>
                </a:lnTo>
                <a:lnTo>
                  <a:pt x="3229379" y="6307128"/>
                </a:lnTo>
                <a:lnTo>
                  <a:pt x="636271" y="6307128"/>
                </a:lnTo>
                <a:lnTo>
                  <a:pt x="1" y="6307128"/>
                </a:lnTo>
                <a:lnTo>
                  <a:pt x="0" y="6307128"/>
                </a:lnTo>
                <a:lnTo>
                  <a:pt x="0" y="3598208"/>
                </a:lnTo>
                <a:lnTo>
                  <a:pt x="4610" y="3598208"/>
                </a:lnTo>
                <a:lnTo>
                  <a:pt x="8249" y="3544634"/>
                </a:lnTo>
                <a:cubicBezTo>
                  <a:pt x="46104" y="3251619"/>
                  <a:pt x="209785" y="2901412"/>
                  <a:pt x="405979" y="2712911"/>
                </a:cubicBezTo>
                <a:close/>
              </a:path>
            </a:pathLst>
          </a:custGeom>
          <a:solidFill>
            <a:schemeClr val="accent2">
              <a:alpha val="6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715722DB-F61B-6C39-37DD-C0C553D1D8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707532" y="4401248"/>
            <a:ext cx="2484468" cy="2456753"/>
          </a:xfrm>
          <a:custGeom>
            <a:avLst/>
            <a:gdLst>
              <a:gd name="connsiteX0" fmla="*/ 2484468 w 2484468"/>
              <a:gd name="connsiteY0" fmla="*/ 0 h 2456753"/>
              <a:gd name="connsiteX1" fmla="*/ 2484468 w 2484468"/>
              <a:gd name="connsiteY1" fmla="*/ 2220567 h 2456753"/>
              <a:gd name="connsiteX2" fmla="*/ 2239324 w 2484468"/>
              <a:gd name="connsiteY2" fmla="*/ 2456753 h 2456753"/>
              <a:gd name="connsiteX3" fmla="*/ 0 w 2484468"/>
              <a:gd name="connsiteY3" fmla="*/ 2456753 h 2456753"/>
              <a:gd name="connsiteX4" fmla="*/ 46749 w 2484468"/>
              <a:gd name="connsiteY4" fmla="*/ 2368128 h 2456753"/>
              <a:gd name="connsiteX5" fmla="*/ 138956 w 2484468"/>
              <a:gd name="connsiteY5" fmla="*/ 2253725 h 2456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4468" h="2456753">
                <a:moveTo>
                  <a:pt x="2484468" y="0"/>
                </a:moveTo>
                <a:lnTo>
                  <a:pt x="2484468" y="2220567"/>
                </a:lnTo>
                <a:lnTo>
                  <a:pt x="2239324" y="2456753"/>
                </a:lnTo>
                <a:lnTo>
                  <a:pt x="0" y="2456753"/>
                </a:lnTo>
                <a:lnTo>
                  <a:pt x="46749" y="2368128"/>
                </a:lnTo>
                <a:cubicBezTo>
                  <a:pt x="75089" y="2324278"/>
                  <a:pt x="106248" y="2285150"/>
                  <a:pt x="138956" y="225372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5242917A-7E8E-CC33-6FC8-7965D64F35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74709" y="260208"/>
            <a:ext cx="3456388" cy="5010292"/>
          </a:xfrm>
          <a:custGeom>
            <a:avLst/>
            <a:gdLst>
              <a:gd name="connsiteX0" fmla="*/ 103350 w 3456388"/>
              <a:gd name="connsiteY0" fmla="*/ 29 h 5010292"/>
              <a:gd name="connsiteX1" fmla="*/ 235548 w 3456388"/>
              <a:gd name="connsiteY1" fmla="*/ 71195 h 5010292"/>
              <a:gd name="connsiteX2" fmla="*/ 3219504 w 3456388"/>
              <a:gd name="connsiteY2" fmla="*/ 2938380 h 5010292"/>
              <a:gd name="connsiteX3" fmla="*/ 3456388 w 3456388"/>
              <a:gd name="connsiteY3" fmla="*/ 3494538 h 5010292"/>
              <a:gd name="connsiteX4" fmla="*/ 3456388 w 3456388"/>
              <a:gd name="connsiteY4" fmla="*/ 5010292 h 5010292"/>
              <a:gd name="connsiteX5" fmla="*/ 3058902 w 3456388"/>
              <a:gd name="connsiteY5" fmla="*/ 5010292 h 5010292"/>
              <a:gd name="connsiteX6" fmla="*/ 244256 w 3456388"/>
              <a:gd name="connsiteY6" fmla="*/ 2298498 h 5010292"/>
              <a:gd name="connsiteX7" fmla="*/ 6258 w 3456388"/>
              <a:gd name="connsiteY7" fmla="*/ 1742123 h 5010292"/>
              <a:gd name="connsiteX8" fmla="*/ 4 w 3456388"/>
              <a:gd name="connsiteY8" fmla="*/ 172114 h 5010292"/>
              <a:gd name="connsiteX9" fmla="*/ 103350 w 3456388"/>
              <a:gd name="connsiteY9" fmla="*/ 29 h 5010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56388" h="5010292">
                <a:moveTo>
                  <a:pt x="103350" y="29"/>
                </a:moveTo>
                <a:cubicBezTo>
                  <a:pt x="141003" y="941"/>
                  <a:pt x="186486" y="24059"/>
                  <a:pt x="235548" y="71195"/>
                </a:cubicBezTo>
                <a:lnTo>
                  <a:pt x="3219504" y="2938380"/>
                </a:lnTo>
                <a:cubicBezTo>
                  <a:pt x="3350335" y="3064081"/>
                  <a:pt x="3456388" y="3313019"/>
                  <a:pt x="3456388" y="3494538"/>
                </a:cubicBezTo>
                <a:lnTo>
                  <a:pt x="3456388" y="5010292"/>
                </a:lnTo>
                <a:lnTo>
                  <a:pt x="3058902" y="5010292"/>
                </a:lnTo>
                <a:lnTo>
                  <a:pt x="244256" y="2298498"/>
                </a:lnTo>
                <a:cubicBezTo>
                  <a:pt x="113647" y="2172580"/>
                  <a:pt x="6258" y="1923637"/>
                  <a:pt x="6258" y="1742123"/>
                </a:cubicBezTo>
                <a:lnTo>
                  <a:pt x="4" y="172114"/>
                </a:lnTo>
                <a:cubicBezTo>
                  <a:pt x="-415" y="58667"/>
                  <a:pt x="40594" y="-1492"/>
                  <a:pt x="103350" y="2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A07A8FF-6971-1482-F56C-D08A356688C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29317" y="2749082"/>
            <a:ext cx="4032451" cy="4108918"/>
          </a:xfrm>
          <a:custGeom>
            <a:avLst/>
            <a:gdLst>
              <a:gd name="connsiteX0" fmla="*/ 3911878 w 4032451"/>
              <a:gd name="connsiteY0" fmla="*/ 33 h 4108918"/>
              <a:gd name="connsiteX1" fmla="*/ 4032448 w 4032451"/>
              <a:gd name="connsiteY1" fmla="*/ 200799 h 4108918"/>
              <a:gd name="connsiteX2" fmla="*/ 4025153 w 4032451"/>
              <a:gd name="connsiteY2" fmla="*/ 2032476 h 4108918"/>
              <a:gd name="connsiteX3" fmla="*/ 3747489 w 4032451"/>
              <a:gd name="connsiteY3" fmla="*/ 2681580 h 4108918"/>
              <a:gd name="connsiteX4" fmla="*/ 2266015 w 4032451"/>
              <a:gd name="connsiteY4" fmla="*/ 4108918 h 4108918"/>
              <a:gd name="connsiteX5" fmla="*/ 0 w 4032451"/>
              <a:gd name="connsiteY5" fmla="*/ 4108918 h 4108918"/>
              <a:gd name="connsiteX6" fmla="*/ 0 w 4032451"/>
              <a:gd name="connsiteY6" fmla="*/ 4076960 h 4108918"/>
              <a:gd name="connsiteX7" fmla="*/ 276365 w 4032451"/>
              <a:gd name="connsiteY7" fmla="*/ 3428109 h 4108918"/>
              <a:gd name="connsiteX8" fmla="*/ 3757647 w 4032451"/>
              <a:gd name="connsiteY8" fmla="*/ 83061 h 4108918"/>
              <a:gd name="connsiteX9" fmla="*/ 3911878 w 4032451"/>
              <a:gd name="connsiteY9" fmla="*/ 33 h 4108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32451" h="4108918">
                <a:moveTo>
                  <a:pt x="3911878" y="33"/>
                </a:moveTo>
                <a:cubicBezTo>
                  <a:pt x="3985094" y="-1741"/>
                  <a:pt x="4032937" y="68445"/>
                  <a:pt x="4032448" y="200799"/>
                </a:cubicBezTo>
                <a:lnTo>
                  <a:pt x="4025153" y="2032476"/>
                </a:lnTo>
                <a:cubicBezTo>
                  <a:pt x="4025153" y="2244242"/>
                  <a:pt x="3899866" y="2534676"/>
                  <a:pt x="3747489" y="2681580"/>
                </a:cubicBezTo>
                <a:lnTo>
                  <a:pt x="2266015" y="4108918"/>
                </a:lnTo>
                <a:lnTo>
                  <a:pt x="0" y="4108918"/>
                </a:lnTo>
                <a:lnTo>
                  <a:pt x="0" y="4076960"/>
                </a:lnTo>
                <a:cubicBezTo>
                  <a:pt x="0" y="3865188"/>
                  <a:pt x="123729" y="3574760"/>
                  <a:pt x="276365" y="3428109"/>
                </a:cubicBezTo>
                <a:lnTo>
                  <a:pt x="3757647" y="83061"/>
                </a:lnTo>
                <a:cubicBezTo>
                  <a:pt x="3814886" y="28069"/>
                  <a:pt x="3867949" y="1098"/>
                  <a:pt x="3911878" y="3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26" name="Text Placeholder 125">
            <a:extLst>
              <a:ext uri="{FF2B5EF4-FFF2-40B4-BE49-F238E27FC236}">
                <a16:creationId xmlns:a16="http://schemas.microsoft.com/office/drawing/2014/main" id="{1BAA0479-3CF9-2EEE-785C-8BC352D3FE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" y="909496"/>
            <a:ext cx="2870583" cy="5948505"/>
          </a:xfrm>
          <a:custGeom>
            <a:avLst/>
            <a:gdLst>
              <a:gd name="connsiteX0" fmla="*/ 2685589 w 2870583"/>
              <a:gd name="connsiteY0" fmla="*/ 55 h 5948505"/>
              <a:gd name="connsiteX1" fmla="*/ 2870583 w 2870583"/>
              <a:gd name="connsiteY1" fmla="*/ 305049 h 5948505"/>
              <a:gd name="connsiteX2" fmla="*/ 2870583 w 2870583"/>
              <a:gd name="connsiteY2" fmla="*/ 3090079 h 5948505"/>
              <a:gd name="connsiteX3" fmla="*/ 2450374 w 2870583"/>
              <a:gd name="connsiteY3" fmla="*/ 4076647 h 5948505"/>
              <a:gd name="connsiteX4" fmla="*/ 502282 w 2870583"/>
              <a:gd name="connsiteY4" fmla="*/ 5948505 h 5948505"/>
              <a:gd name="connsiteX5" fmla="*/ 0 w 2870583"/>
              <a:gd name="connsiteY5" fmla="*/ 5948505 h 5948505"/>
              <a:gd name="connsiteX6" fmla="*/ 0 w 2870583"/>
              <a:gd name="connsiteY6" fmla="*/ 2487636 h 5948505"/>
              <a:gd name="connsiteX7" fmla="*/ 2450768 w 2870583"/>
              <a:gd name="connsiteY7" fmla="*/ 126424 h 5948505"/>
              <a:gd name="connsiteX8" fmla="*/ 2685589 w 2870583"/>
              <a:gd name="connsiteY8" fmla="*/ 55 h 5948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70583" h="5948505">
                <a:moveTo>
                  <a:pt x="2685589" y="55"/>
                </a:moveTo>
                <a:cubicBezTo>
                  <a:pt x="2797249" y="-2761"/>
                  <a:pt x="2870583" y="103801"/>
                  <a:pt x="2870583" y="305049"/>
                </a:cubicBezTo>
                <a:lnTo>
                  <a:pt x="2870583" y="3090079"/>
                </a:lnTo>
                <a:cubicBezTo>
                  <a:pt x="2870583" y="3412076"/>
                  <a:pt x="2682455" y="3853667"/>
                  <a:pt x="2450374" y="4076647"/>
                </a:cubicBezTo>
                <a:lnTo>
                  <a:pt x="502282" y="5948505"/>
                </a:lnTo>
                <a:lnTo>
                  <a:pt x="0" y="5948505"/>
                </a:lnTo>
                <a:lnTo>
                  <a:pt x="0" y="2487636"/>
                </a:lnTo>
                <a:lnTo>
                  <a:pt x="2450768" y="126424"/>
                </a:lnTo>
                <a:cubicBezTo>
                  <a:pt x="2537798" y="42809"/>
                  <a:pt x="2618592" y="1744"/>
                  <a:pt x="2685589" y="55"/>
                </a:cubicBezTo>
                <a:close/>
              </a:path>
            </a:pathLst>
          </a:custGeom>
          <a:solidFill>
            <a:srgbClr val="CBD300">
              <a:alpha val="2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CBD300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DED43CDE-8825-7B84-10F8-B5878BE7F4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18004" y="1764973"/>
            <a:ext cx="7085111" cy="20283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8" name="Title 6">
            <a:extLst>
              <a:ext uri="{FF2B5EF4-FFF2-40B4-BE49-F238E27FC236}">
                <a16:creationId xmlns:a16="http://schemas.microsoft.com/office/drawing/2014/main" id="{92A898D0-CA5F-6642-1485-0E937CBB1A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8439" y="332657"/>
            <a:ext cx="708467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1D16556E-5ACE-BAC5-E36D-613DAEF1D27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896757" y="4015034"/>
            <a:ext cx="3120203" cy="2842967"/>
          </a:xfrm>
          <a:custGeom>
            <a:avLst/>
            <a:gdLst>
              <a:gd name="connsiteX0" fmla="*/ 3016855 w 3120203"/>
              <a:gd name="connsiteY0" fmla="*/ 29 h 2842967"/>
              <a:gd name="connsiteX1" fmla="*/ 3120200 w 3120203"/>
              <a:gd name="connsiteY1" fmla="*/ 172113 h 2842967"/>
              <a:gd name="connsiteX2" fmla="*/ 3113947 w 3120203"/>
              <a:gd name="connsiteY2" fmla="*/ 1742123 h 2842967"/>
              <a:gd name="connsiteX3" fmla="*/ 2875949 w 3120203"/>
              <a:gd name="connsiteY3" fmla="*/ 2298497 h 2842967"/>
              <a:gd name="connsiteX4" fmla="*/ 2310829 w 3120203"/>
              <a:gd name="connsiteY4" fmla="*/ 2842967 h 2842967"/>
              <a:gd name="connsiteX5" fmla="*/ 0 w 3120203"/>
              <a:gd name="connsiteY5" fmla="*/ 2842967 h 2842967"/>
              <a:gd name="connsiteX6" fmla="*/ 2884657 w 3120203"/>
              <a:gd name="connsiteY6" fmla="*/ 71195 h 2842967"/>
              <a:gd name="connsiteX7" fmla="*/ 3016855 w 3120203"/>
              <a:gd name="connsiteY7" fmla="*/ 29 h 2842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20203" h="2842967">
                <a:moveTo>
                  <a:pt x="3016855" y="29"/>
                </a:moveTo>
                <a:cubicBezTo>
                  <a:pt x="3079611" y="-1493"/>
                  <a:pt x="3120619" y="58667"/>
                  <a:pt x="3120200" y="172113"/>
                </a:cubicBezTo>
                <a:lnTo>
                  <a:pt x="3113947" y="1742123"/>
                </a:lnTo>
                <a:cubicBezTo>
                  <a:pt x="3113947" y="1923637"/>
                  <a:pt x="3006558" y="2172580"/>
                  <a:pt x="2875949" y="2298497"/>
                </a:cubicBezTo>
                <a:lnTo>
                  <a:pt x="2310829" y="2842967"/>
                </a:lnTo>
                <a:lnTo>
                  <a:pt x="0" y="2842967"/>
                </a:lnTo>
                <a:lnTo>
                  <a:pt x="2884657" y="71195"/>
                </a:lnTo>
                <a:cubicBezTo>
                  <a:pt x="2933718" y="24059"/>
                  <a:pt x="2979201" y="941"/>
                  <a:pt x="3016855" y="2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37264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solidFill>
          <a:srgbClr val="2725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758A17F-5411-922C-DAE5-0FD693301FE2}"/>
              </a:ext>
            </a:extLst>
          </p:cNvPr>
          <p:cNvSpPr/>
          <p:nvPr userDrawn="1"/>
        </p:nvSpPr>
        <p:spPr>
          <a:xfrm>
            <a:off x="0" y="926271"/>
            <a:ext cx="5355203" cy="5931729"/>
          </a:xfrm>
          <a:custGeom>
            <a:avLst/>
            <a:gdLst>
              <a:gd name="connsiteX0" fmla="*/ 5186481 w 5355203"/>
              <a:gd name="connsiteY0" fmla="*/ 50 h 5931729"/>
              <a:gd name="connsiteX1" fmla="*/ 5355203 w 5355203"/>
              <a:gd name="connsiteY1" fmla="*/ 278216 h 5931729"/>
              <a:gd name="connsiteX2" fmla="*/ 5355203 w 5355203"/>
              <a:gd name="connsiteY2" fmla="*/ 2818263 h 5931729"/>
              <a:gd name="connsiteX3" fmla="*/ 4971958 w 5355203"/>
              <a:gd name="connsiteY3" fmla="*/ 3718048 h 5931729"/>
              <a:gd name="connsiteX4" fmla="*/ 2668121 w 5355203"/>
              <a:gd name="connsiteY4" fmla="*/ 5931729 h 5931729"/>
              <a:gd name="connsiteX5" fmla="*/ 0 w 5355203"/>
              <a:gd name="connsiteY5" fmla="*/ 5931729 h 5931729"/>
              <a:gd name="connsiteX6" fmla="*/ 0 w 5355203"/>
              <a:gd name="connsiteY6" fmla="*/ 4954140 h 5931729"/>
              <a:gd name="connsiteX7" fmla="*/ 9114 w 5355203"/>
              <a:gd name="connsiteY7" fmla="*/ 4938582 h 5931729"/>
              <a:gd name="connsiteX8" fmla="*/ 158423 w 5355203"/>
              <a:gd name="connsiteY8" fmla="*/ 4753289 h 5931729"/>
              <a:gd name="connsiteX9" fmla="*/ 4972316 w 5355203"/>
              <a:gd name="connsiteY9" fmla="*/ 115303 h 5931729"/>
              <a:gd name="connsiteX10" fmla="*/ 5186481 w 5355203"/>
              <a:gd name="connsiteY10" fmla="*/ 50 h 5931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355203" h="5931729">
                <a:moveTo>
                  <a:pt x="5186481" y="50"/>
                </a:moveTo>
                <a:cubicBezTo>
                  <a:pt x="5288320" y="-2518"/>
                  <a:pt x="5355203" y="94671"/>
                  <a:pt x="5355203" y="278216"/>
                </a:cubicBezTo>
                <a:lnTo>
                  <a:pt x="5355203" y="2818263"/>
                </a:lnTo>
                <a:cubicBezTo>
                  <a:pt x="5355203" y="3111935"/>
                  <a:pt x="5183624" y="3514682"/>
                  <a:pt x="4971958" y="3718048"/>
                </a:cubicBezTo>
                <a:lnTo>
                  <a:pt x="2668121" y="5931729"/>
                </a:lnTo>
                <a:lnTo>
                  <a:pt x="0" y="5931729"/>
                </a:lnTo>
                <a:lnTo>
                  <a:pt x="0" y="4954140"/>
                </a:lnTo>
                <a:lnTo>
                  <a:pt x="9114" y="4938582"/>
                </a:lnTo>
                <a:cubicBezTo>
                  <a:pt x="55118" y="4867587"/>
                  <a:pt x="105596" y="4804218"/>
                  <a:pt x="158423" y="4753289"/>
                </a:cubicBezTo>
                <a:lnTo>
                  <a:pt x="4972316" y="115303"/>
                </a:lnTo>
                <a:cubicBezTo>
                  <a:pt x="5051691" y="39043"/>
                  <a:pt x="5125378" y="1591"/>
                  <a:pt x="5186481" y="50"/>
                </a:cubicBezTo>
                <a:close/>
              </a:path>
            </a:pathLst>
          </a:custGeom>
          <a:solidFill>
            <a:srgbClr val="7E003F">
              <a:alpha val="5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162C6DF5-C2E4-83DF-706D-331B56D3697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34544" y="-27384"/>
            <a:ext cx="8765153" cy="6885385"/>
          </a:xfrm>
          <a:custGeom>
            <a:avLst/>
            <a:gdLst>
              <a:gd name="connsiteX0" fmla="*/ 7083139 w 8765153"/>
              <a:gd name="connsiteY0" fmla="*/ 0 h 6824309"/>
              <a:gd name="connsiteX1" fmla="*/ 8765153 w 8765153"/>
              <a:gd name="connsiteY1" fmla="*/ 0 h 6824309"/>
              <a:gd name="connsiteX2" fmla="*/ 8765153 w 8765153"/>
              <a:gd name="connsiteY2" fmla="*/ 5076952 h 6824309"/>
              <a:gd name="connsiteX3" fmla="*/ 8254822 w 8765153"/>
              <a:gd name="connsiteY3" fmla="*/ 6635190 h 6824309"/>
              <a:gd name="connsiteX4" fmla="*/ 8118882 w 8765153"/>
              <a:gd name="connsiteY4" fmla="*/ 6824309 h 6824309"/>
              <a:gd name="connsiteX5" fmla="*/ 0 w 8765153"/>
              <a:gd name="connsiteY5" fmla="*/ 6824309 h 6824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65153" h="6824309">
                <a:moveTo>
                  <a:pt x="7083139" y="0"/>
                </a:moveTo>
                <a:lnTo>
                  <a:pt x="8765153" y="0"/>
                </a:lnTo>
                <a:lnTo>
                  <a:pt x="8765153" y="5076952"/>
                </a:lnTo>
                <a:cubicBezTo>
                  <a:pt x="8765153" y="5557168"/>
                  <a:pt x="8554727" y="6171153"/>
                  <a:pt x="8254822" y="6635190"/>
                </a:cubicBezTo>
                <a:lnTo>
                  <a:pt x="8118882" y="6824309"/>
                </a:lnTo>
                <a:lnTo>
                  <a:pt x="0" y="682430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r">
              <a:defRPr b="0"/>
            </a:lvl1pPr>
          </a:lstStyle>
          <a:p>
            <a:endParaRPr lang="en-GB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AC4A753-06B1-6046-EC00-AFBCE66C2F6B}"/>
              </a:ext>
            </a:extLst>
          </p:cNvPr>
          <p:cNvSpPr/>
          <p:nvPr userDrawn="1"/>
        </p:nvSpPr>
        <p:spPr>
          <a:xfrm>
            <a:off x="2279576" y="1124744"/>
            <a:ext cx="1885142" cy="2856035"/>
          </a:xfrm>
          <a:custGeom>
            <a:avLst/>
            <a:gdLst>
              <a:gd name="connsiteX0" fmla="*/ 1805 w 716872"/>
              <a:gd name="connsiteY0" fmla="*/ 724844 h 1086078"/>
              <a:gd name="connsiteX1" fmla="*/ 51167 w 716872"/>
              <a:gd name="connsiteY1" fmla="*/ 609449 h 1086078"/>
              <a:gd name="connsiteX2" fmla="*/ 668295 w 716872"/>
              <a:gd name="connsiteY2" fmla="*/ 14872 h 1086078"/>
              <a:gd name="connsiteX3" fmla="*/ 717380 w 716872"/>
              <a:gd name="connsiteY3" fmla="*/ 35757 h 1086078"/>
              <a:gd name="connsiteX4" fmla="*/ 717380 w 716872"/>
              <a:gd name="connsiteY4" fmla="*/ 361384 h 1086078"/>
              <a:gd name="connsiteX5" fmla="*/ 668249 w 716872"/>
              <a:gd name="connsiteY5" fmla="*/ 476734 h 1086078"/>
              <a:gd name="connsiteX6" fmla="*/ 49361 w 716872"/>
              <a:gd name="connsiteY6" fmla="*/ 1071403 h 1086078"/>
              <a:gd name="connsiteX7" fmla="*/ 508 w 716872"/>
              <a:gd name="connsiteY7" fmla="*/ 1050472 h 1086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6872" h="1086078">
                <a:moveTo>
                  <a:pt x="1805" y="724844"/>
                </a:moveTo>
                <a:cubicBezTo>
                  <a:pt x="1805" y="687197"/>
                  <a:pt x="24078" y="635565"/>
                  <a:pt x="51167" y="609449"/>
                </a:cubicBezTo>
                <a:lnTo>
                  <a:pt x="668295" y="14872"/>
                </a:lnTo>
                <a:cubicBezTo>
                  <a:pt x="695430" y="-11198"/>
                  <a:pt x="717380" y="-1891"/>
                  <a:pt x="717380" y="35757"/>
                </a:cubicBezTo>
                <a:lnTo>
                  <a:pt x="717380" y="361384"/>
                </a:lnTo>
                <a:cubicBezTo>
                  <a:pt x="717380" y="399032"/>
                  <a:pt x="695384" y="450663"/>
                  <a:pt x="668249" y="476734"/>
                </a:cubicBezTo>
                <a:lnTo>
                  <a:pt x="49361" y="1071403"/>
                </a:lnTo>
                <a:cubicBezTo>
                  <a:pt x="22226" y="1097473"/>
                  <a:pt x="369" y="1088119"/>
                  <a:pt x="508" y="1050472"/>
                </a:cubicBezTo>
                <a:close/>
              </a:path>
            </a:pathLst>
          </a:custGeom>
          <a:solidFill>
            <a:schemeClr val="accent4">
              <a:alpha val="50000"/>
            </a:schemeClr>
          </a:solidFill>
          <a:ln w="463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1" name="Text Placeholder 120">
            <a:extLst>
              <a:ext uri="{FF2B5EF4-FFF2-40B4-BE49-F238E27FC236}">
                <a16:creationId xmlns:a16="http://schemas.microsoft.com/office/drawing/2014/main" id="{5AD9F435-A7F4-4F99-4CFF-20A81BD375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73123" y="1633525"/>
            <a:ext cx="3384379" cy="5127414"/>
          </a:xfrm>
          <a:custGeom>
            <a:avLst/>
            <a:gdLst>
              <a:gd name="connsiteX0" fmla="*/ 102114 w 3384379"/>
              <a:gd name="connsiteY0" fmla="*/ 31 h 5127414"/>
              <a:gd name="connsiteX1" fmla="*/ 231732 w 3384379"/>
              <a:gd name="connsiteY1" fmla="*/ 69784 h 5127414"/>
              <a:gd name="connsiteX2" fmla="*/ 3145213 w 3384379"/>
              <a:gd name="connsiteY2" fmla="*/ 2876802 h 5127414"/>
              <a:gd name="connsiteX3" fmla="*/ 3378253 w 3384379"/>
              <a:gd name="connsiteY3" fmla="*/ 3421586 h 5127414"/>
              <a:gd name="connsiteX4" fmla="*/ 3384376 w 3384379"/>
              <a:gd name="connsiteY4" fmla="*/ 4958887 h 5127414"/>
              <a:gd name="connsiteX5" fmla="*/ 3153739 w 3384379"/>
              <a:gd name="connsiteY5" fmla="*/ 5057703 h 5127414"/>
              <a:gd name="connsiteX6" fmla="*/ 231949 w 3384379"/>
              <a:gd name="connsiteY6" fmla="*/ 2250250 h 5127414"/>
              <a:gd name="connsiteX7" fmla="*/ 0 w 3384379"/>
              <a:gd name="connsiteY7" fmla="*/ 1705679 h 5127414"/>
              <a:gd name="connsiteX8" fmla="*/ 0 w 3384379"/>
              <a:gd name="connsiteY8" fmla="*/ 168383 h 5127414"/>
              <a:gd name="connsiteX9" fmla="*/ 102114 w 3384379"/>
              <a:gd name="connsiteY9" fmla="*/ 31 h 5127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84379" h="5127414">
                <a:moveTo>
                  <a:pt x="102114" y="31"/>
                </a:moveTo>
                <a:cubicBezTo>
                  <a:pt x="139095" y="963"/>
                  <a:pt x="183692" y="23630"/>
                  <a:pt x="231732" y="69784"/>
                </a:cubicBezTo>
                <a:lnTo>
                  <a:pt x="3145213" y="2876802"/>
                </a:lnTo>
                <a:cubicBezTo>
                  <a:pt x="3273101" y="3000097"/>
                  <a:pt x="3378253" y="3243853"/>
                  <a:pt x="3378253" y="3421586"/>
                </a:cubicBezTo>
                <a:lnTo>
                  <a:pt x="3384376" y="4958887"/>
                </a:lnTo>
                <a:cubicBezTo>
                  <a:pt x="3385032" y="5136620"/>
                  <a:pt x="3281845" y="5180780"/>
                  <a:pt x="3153739" y="5057703"/>
                </a:cubicBezTo>
                <a:lnTo>
                  <a:pt x="231949" y="2250250"/>
                </a:lnTo>
                <a:cubicBezTo>
                  <a:pt x="103844" y="2127168"/>
                  <a:pt x="0" y="1883417"/>
                  <a:pt x="0" y="1705679"/>
                </a:cubicBezTo>
                <a:lnTo>
                  <a:pt x="0" y="168383"/>
                </a:lnTo>
                <a:cubicBezTo>
                  <a:pt x="0" y="57297"/>
                  <a:pt x="40479" y="-1524"/>
                  <a:pt x="102114" y="31"/>
                </a:cubicBezTo>
                <a:close/>
              </a:path>
            </a:pathLst>
          </a:custGeom>
          <a:solidFill>
            <a:srgbClr val="38B6AB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0ACC4E2B-F090-66AC-388C-54C827EFCB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9" y="2636913"/>
            <a:ext cx="10944224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nter titl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56630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6" grpId="0" animBg="1"/>
      <p:bldP spid="9" grpId="0" animBg="1"/>
      <p:bldP spid="121" grpId="0" uiExpand="1" build="p" animBg="1">
        <p:tmplLst>
          <p:tmpl>
            <p:tnLst>
              <p:par>
                <p:cTn presetID="2" presetClass="entr" presetSubtype="1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1" decel="100000" fill="hold" nodeType="withEffect" nodePh="1">
                  <p:stCondLst>
                    <p:cond delay="7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build="p">
        <p:tmplLst>
          <p:tmpl lvl="2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B40599C-4C0F-475E-A2C1-B16A0CE59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1044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B40599C-4C0F-475E-A2C1-B16A0CE59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AE49D000-408C-4824-9FA5-437F0857B1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14860" y="-2"/>
            <a:ext cx="5477141" cy="6858002"/>
          </a:xfrm>
          <a:custGeom>
            <a:avLst/>
            <a:gdLst>
              <a:gd name="connsiteX0" fmla="*/ 3986471 w 5477141"/>
              <a:gd name="connsiteY0" fmla="*/ 0 h 6858002"/>
              <a:gd name="connsiteX1" fmla="*/ 5477141 w 5477141"/>
              <a:gd name="connsiteY1" fmla="*/ 0 h 6858002"/>
              <a:gd name="connsiteX2" fmla="*/ 5477141 w 5477141"/>
              <a:gd name="connsiteY2" fmla="*/ 5978697 h 6858002"/>
              <a:gd name="connsiteX3" fmla="*/ 4566103 w 5477141"/>
              <a:gd name="connsiteY3" fmla="*/ 6858002 h 6858002"/>
              <a:gd name="connsiteX4" fmla="*/ 0 w 5477141"/>
              <a:gd name="connsiteY4" fmla="*/ 6858002 h 6858002"/>
              <a:gd name="connsiteX5" fmla="*/ 10973 w 5477141"/>
              <a:gd name="connsiteY5" fmla="*/ 4194085 h 6858002"/>
              <a:gd name="connsiteX6" fmla="*/ 262590 w 5477141"/>
              <a:gd name="connsiteY6" fmla="*/ 3603624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77141" h="6858002">
                <a:moveTo>
                  <a:pt x="3986471" y="0"/>
                </a:moveTo>
                <a:lnTo>
                  <a:pt x="5477141" y="0"/>
                </a:lnTo>
                <a:lnTo>
                  <a:pt x="5477141" y="5978697"/>
                </a:lnTo>
                <a:lnTo>
                  <a:pt x="4566103" y="6858002"/>
                </a:lnTo>
                <a:lnTo>
                  <a:pt x="0" y="6858002"/>
                </a:lnTo>
                <a:lnTo>
                  <a:pt x="10973" y="4194085"/>
                </a:lnTo>
                <a:cubicBezTo>
                  <a:pt x="11711" y="4001686"/>
                  <a:pt x="124372" y="3737295"/>
                  <a:pt x="262590" y="3603624"/>
                </a:cubicBezTo>
                <a:close/>
              </a:path>
            </a:pathLst>
          </a:custGeom>
          <a:solidFill>
            <a:srgbClr val="97BE0D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CF89D1-5F6C-4FE0-93BA-66FADB691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93C09CD9-332B-46FA-AFE2-208CC7A7511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761482" y="300589"/>
            <a:ext cx="3430518" cy="5720327"/>
          </a:xfrm>
          <a:custGeom>
            <a:avLst/>
            <a:gdLst>
              <a:gd name="connsiteX0" fmla="*/ 117485 w 3430518"/>
              <a:gd name="connsiteY0" fmla="*/ 56 h 5720327"/>
              <a:gd name="connsiteX1" fmla="*/ 267840 w 3430518"/>
              <a:gd name="connsiteY1" fmla="*/ 82765 h 5720327"/>
              <a:gd name="connsiteX2" fmla="*/ 3430518 w 3430518"/>
              <a:gd name="connsiteY2" fmla="*/ 3169975 h 5720327"/>
              <a:gd name="connsiteX3" fmla="*/ 3430518 w 3430518"/>
              <a:gd name="connsiteY3" fmla="*/ 5720327 h 5720327"/>
              <a:gd name="connsiteX4" fmla="*/ 277667 w 3430518"/>
              <a:gd name="connsiteY4" fmla="*/ 2635413 h 5720327"/>
              <a:gd name="connsiteX5" fmla="*/ 7377 w 3430518"/>
              <a:gd name="connsiteY5" fmla="*/ 1995687 h 5720327"/>
              <a:gd name="connsiteX6" fmla="*/ 5 w 3430518"/>
              <a:gd name="connsiteY6" fmla="*/ 196289 h 5720327"/>
              <a:gd name="connsiteX7" fmla="*/ 117485 w 3430518"/>
              <a:gd name="connsiteY7" fmla="*/ 56 h 5720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30518" h="5720327">
                <a:moveTo>
                  <a:pt x="117485" y="56"/>
                </a:moveTo>
                <a:cubicBezTo>
                  <a:pt x="160312" y="1425"/>
                  <a:pt x="212046" y="28308"/>
                  <a:pt x="267840" y="82765"/>
                </a:cubicBezTo>
                <a:lnTo>
                  <a:pt x="3430518" y="3169975"/>
                </a:lnTo>
                <a:lnTo>
                  <a:pt x="3430518" y="5720327"/>
                </a:lnTo>
                <a:lnTo>
                  <a:pt x="277667" y="2635413"/>
                </a:lnTo>
                <a:cubicBezTo>
                  <a:pt x="129375" y="2489948"/>
                  <a:pt x="8237" y="2203562"/>
                  <a:pt x="7377" y="1995687"/>
                </a:cubicBezTo>
                <a:lnTo>
                  <a:pt x="5" y="196289"/>
                </a:lnTo>
                <a:cubicBezTo>
                  <a:pt x="-532" y="66365"/>
                  <a:pt x="46106" y="-2226"/>
                  <a:pt x="117485" y="5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8272B9A-06E7-4C48-AA43-5AB2FEE13A4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55062" y="4375974"/>
            <a:ext cx="2679466" cy="2482023"/>
          </a:xfrm>
          <a:custGeom>
            <a:avLst/>
            <a:gdLst>
              <a:gd name="connsiteX0" fmla="*/ 3495324 w 3619869"/>
              <a:gd name="connsiteY0" fmla="*/ 64 h 3353130"/>
              <a:gd name="connsiteX1" fmla="*/ 3619869 w 3619869"/>
              <a:gd name="connsiteY1" fmla="*/ 206007 h 3353130"/>
              <a:gd name="connsiteX2" fmla="*/ 3619869 w 3619869"/>
              <a:gd name="connsiteY2" fmla="*/ 2095951 h 3353130"/>
              <a:gd name="connsiteX3" fmla="*/ 3337292 w 3619869"/>
              <a:gd name="connsiteY3" fmla="*/ 2767747 h 3353130"/>
              <a:gd name="connsiteX4" fmla="*/ 2737494 w 3619869"/>
              <a:gd name="connsiteY4" fmla="*/ 3353130 h 3353130"/>
              <a:gd name="connsiteX5" fmla="*/ 0 w 3619869"/>
              <a:gd name="connsiteY5" fmla="*/ 3353130 h 3353130"/>
              <a:gd name="connsiteX6" fmla="*/ 3337292 w 3619869"/>
              <a:gd name="connsiteY6" fmla="*/ 87203 h 3353130"/>
              <a:gd name="connsiteX7" fmla="*/ 3495324 w 3619869"/>
              <a:gd name="connsiteY7" fmla="*/ 64 h 3353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19869" h="3353130">
                <a:moveTo>
                  <a:pt x="3495324" y="64"/>
                </a:moveTo>
                <a:cubicBezTo>
                  <a:pt x="3570486" y="-2440"/>
                  <a:pt x="3619869" y="69557"/>
                  <a:pt x="3619869" y="206007"/>
                </a:cubicBezTo>
                <a:lnTo>
                  <a:pt x="3619869" y="2095951"/>
                </a:lnTo>
                <a:cubicBezTo>
                  <a:pt x="3619869" y="2314395"/>
                  <a:pt x="3493078" y="2615156"/>
                  <a:pt x="3337292" y="2767747"/>
                </a:cubicBezTo>
                <a:lnTo>
                  <a:pt x="2737494" y="3353130"/>
                </a:lnTo>
                <a:lnTo>
                  <a:pt x="0" y="3353130"/>
                </a:lnTo>
                <a:lnTo>
                  <a:pt x="3337292" y="87203"/>
                </a:lnTo>
                <a:cubicBezTo>
                  <a:pt x="3395851" y="29890"/>
                  <a:pt x="3450228" y="1567"/>
                  <a:pt x="3495324" y="64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287D13C6-D8A0-4240-B399-3800A3934E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702658" y="579233"/>
            <a:ext cx="1489341" cy="3820884"/>
          </a:xfrm>
          <a:custGeom>
            <a:avLst/>
            <a:gdLst>
              <a:gd name="connsiteX0" fmla="*/ 117485 w 1489341"/>
              <a:gd name="connsiteY0" fmla="*/ 56 h 3820884"/>
              <a:gd name="connsiteX1" fmla="*/ 267840 w 1489341"/>
              <a:gd name="connsiteY1" fmla="*/ 82765 h 3820884"/>
              <a:gd name="connsiteX2" fmla="*/ 1489341 w 1489341"/>
              <a:gd name="connsiteY2" fmla="*/ 1274987 h 3820884"/>
              <a:gd name="connsiteX3" fmla="*/ 1489341 w 1489341"/>
              <a:gd name="connsiteY3" fmla="*/ 3820884 h 3820884"/>
              <a:gd name="connsiteX4" fmla="*/ 278035 w 1489341"/>
              <a:gd name="connsiteY4" fmla="*/ 2635414 h 3820884"/>
              <a:gd name="connsiteX5" fmla="*/ 7745 w 1489341"/>
              <a:gd name="connsiteY5" fmla="*/ 1995562 h 3820884"/>
              <a:gd name="connsiteX6" fmla="*/ 5 w 1489341"/>
              <a:gd name="connsiteY6" fmla="*/ 196289 h 3820884"/>
              <a:gd name="connsiteX7" fmla="*/ 117485 w 1489341"/>
              <a:gd name="connsiteY7" fmla="*/ 56 h 3820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9341" h="3820884">
                <a:moveTo>
                  <a:pt x="117485" y="56"/>
                </a:moveTo>
                <a:cubicBezTo>
                  <a:pt x="160312" y="1425"/>
                  <a:pt x="212046" y="28308"/>
                  <a:pt x="267840" y="82765"/>
                </a:cubicBezTo>
                <a:lnTo>
                  <a:pt x="1489341" y="1274987"/>
                </a:lnTo>
                <a:lnTo>
                  <a:pt x="1489341" y="3820884"/>
                </a:lnTo>
                <a:lnTo>
                  <a:pt x="278035" y="2635414"/>
                </a:lnTo>
                <a:cubicBezTo>
                  <a:pt x="129746" y="2489948"/>
                  <a:pt x="8605" y="2203565"/>
                  <a:pt x="7745" y="1995562"/>
                </a:cubicBezTo>
                <a:lnTo>
                  <a:pt x="5" y="196289"/>
                </a:lnTo>
                <a:cubicBezTo>
                  <a:pt x="-532" y="66365"/>
                  <a:pt x="46106" y="-2226"/>
                  <a:pt x="117485" y="56"/>
                </a:cubicBezTo>
                <a:close/>
              </a:path>
            </a:pathLst>
          </a:custGeom>
          <a:solidFill>
            <a:srgbClr val="750D68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4870C28F-9345-460D-8D2C-722BDDEB37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399642" y="2074095"/>
            <a:ext cx="792359" cy="2251289"/>
          </a:xfrm>
          <a:custGeom>
            <a:avLst/>
            <a:gdLst>
              <a:gd name="connsiteX0" fmla="*/ 792359 w 792359"/>
              <a:gd name="connsiteY0" fmla="*/ 0 h 2251289"/>
              <a:gd name="connsiteX1" fmla="*/ 792359 w 792359"/>
              <a:gd name="connsiteY1" fmla="*/ 1589453 h 2251289"/>
              <a:gd name="connsiteX2" fmla="*/ 167214 w 792359"/>
              <a:gd name="connsiteY2" fmla="*/ 2199598 h 2251289"/>
              <a:gd name="connsiteX3" fmla="*/ 3 w 792359"/>
              <a:gd name="connsiteY3" fmla="*/ 2128708 h 2251289"/>
              <a:gd name="connsiteX4" fmla="*/ 4550 w 792359"/>
              <a:gd name="connsiteY4" fmla="*/ 1005161 h 2251289"/>
              <a:gd name="connsiteX5" fmla="*/ 173480 w 792359"/>
              <a:gd name="connsiteY5" fmla="*/ 605622 h 2251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359" h="2251289">
                <a:moveTo>
                  <a:pt x="792359" y="0"/>
                </a:moveTo>
                <a:lnTo>
                  <a:pt x="792359" y="1589453"/>
                </a:lnTo>
                <a:lnTo>
                  <a:pt x="167214" y="2199598"/>
                </a:lnTo>
                <a:cubicBezTo>
                  <a:pt x="74334" y="2290269"/>
                  <a:pt x="-487" y="2258570"/>
                  <a:pt x="3" y="2128708"/>
                </a:cubicBezTo>
                <a:lnTo>
                  <a:pt x="4550" y="1005161"/>
                </a:lnTo>
                <a:cubicBezTo>
                  <a:pt x="4550" y="875299"/>
                  <a:pt x="80721" y="696539"/>
                  <a:pt x="173480" y="605622"/>
                </a:cubicBezTo>
                <a:close/>
              </a:path>
            </a:pathLst>
          </a:custGeom>
          <a:solidFill>
            <a:srgbClr val="F07E26">
              <a:alpha val="8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4427D09F-36B2-4E9E-B819-4E7BF5B516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556188" y="5517233"/>
            <a:ext cx="1565162" cy="1340768"/>
          </a:xfrm>
          <a:custGeom>
            <a:avLst/>
            <a:gdLst>
              <a:gd name="connsiteX0" fmla="*/ 710975 w 784278"/>
              <a:gd name="connsiteY0" fmla="*/ 73 h 671838"/>
              <a:gd name="connsiteX1" fmla="*/ 784278 w 784278"/>
              <a:gd name="connsiteY1" fmla="*/ 121712 h 671838"/>
              <a:gd name="connsiteX2" fmla="*/ 784278 w 784278"/>
              <a:gd name="connsiteY2" fmla="*/ 671838 h 671838"/>
              <a:gd name="connsiteX3" fmla="*/ 0 w 784278"/>
              <a:gd name="connsiteY3" fmla="*/ 671838 h 671838"/>
              <a:gd name="connsiteX4" fmla="*/ 618048 w 784278"/>
              <a:gd name="connsiteY4" fmla="*/ 53034 h 671838"/>
              <a:gd name="connsiteX5" fmla="*/ 710975 w 784278"/>
              <a:gd name="connsiteY5" fmla="*/ 73 h 671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4278" h="671838">
                <a:moveTo>
                  <a:pt x="710975" y="73"/>
                </a:moveTo>
                <a:cubicBezTo>
                  <a:pt x="755194" y="-2002"/>
                  <a:pt x="784278" y="40394"/>
                  <a:pt x="784278" y="121712"/>
                </a:cubicBezTo>
                <a:lnTo>
                  <a:pt x="784278" y="671838"/>
                </a:lnTo>
                <a:lnTo>
                  <a:pt x="0" y="671838"/>
                </a:lnTo>
                <a:lnTo>
                  <a:pt x="618048" y="53034"/>
                </a:lnTo>
                <a:cubicBezTo>
                  <a:pt x="652464" y="18572"/>
                  <a:pt x="684444" y="1318"/>
                  <a:pt x="710975" y="73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1C62B2A9-F38F-45C9-8332-68EFE3EA40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628801"/>
            <a:ext cx="5760145" cy="4105249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7" name="Title 11">
            <a:extLst>
              <a:ext uri="{FF2B5EF4-FFF2-40B4-BE49-F238E27FC236}">
                <a16:creationId xmlns:a16="http://schemas.microsoft.com/office/drawing/2014/main" id="{3E18813C-1B37-44D6-AE09-A794555E7B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7815651" cy="10801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92186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3" orient="horz" pos="3612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Text Placeholder 133">
            <a:extLst>
              <a:ext uri="{FF2B5EF4-FFF2-40B4-BE49-F238E27FC236}">
                <a16:creationId xmlns:a16="http://schemas.microsoft.com/office/drawing/2014/main" id="{23F52D78-230C-7431-5E48-931D061CCA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" y="0"/>
            <a:ext cx="4098689" cy="6858000"/>
          </a:xfrm>
          <a:custGeom>
            <a:avLst/>
            <a:gdLst>
              <a:gd name="connsiteX0" fmla="*/ 3070124 w 4098689"/>
              <a:gd name="connsiteY0" fmla="*/ 0 h 6858000"/>
              <a:gd name="connsiteX1" fmla="*/ 4098689 w 4098689"/>
              <a:gd name="connsiteY1" fmla="*/ 0 h 6858000"/>
              <a:gd name="connsiteX2" fmla="*/ 4098689 w 4098689"/>
              <a:gd name="connsiteY2" fmla="*/ 3644244 h 6858000"/>
              <a:gd name="connsiteX3" fmla="*/ 3520398 w 4098689"/>
              <a:gd name="connsiteY3" fmla="*/ 5001960 h 6858000"/>
              <a:gd name="connsiteX4" fmla="*/ 1588767 w 4098689"/>
              <a:gd name="connsiteY4" fmla="*/ 6858000 h 6858000"/>
              <a:gd name="connsiteX5" fmla="*/ 0 w 4098689"/>
              <a:gd name="connsiteY5" fmla="*/ 6858000 h 6858000"/>
              <a:gd name="connsiteX6" fmla="*/ 0 w 4098689"/>
              <a:gd name="connsiteY6" fmla="*/ 295793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8689" h="6858000">
                <a:moveTo>
                  <a:pt x="3070124" y="0"/>
                </a:moveTo>
                <a:lnTo>
                  <a:pt x="4098689" y="0"/>
                </a:lnTo>
                <a:lnTo>
                  <a:pt x="4098689" y="3644244"/>
                </a:lnTo>
                <a:cubicBezTo>
                  <a:pt x="4098689" y="4087376"/>
                  <a:pt x="3839788" y="4695094"/>
                  <a:pt x="3520398" y="5001960"/>
                </a:cubicBezTo>
                <a:lnTo>
                  <a:pt x="1588767" y="6858000"/>
                </a:lnTo>
                <a:lnTo>
                  <a:pt x="0" y="6858000"/>
                </a:lnTo>
                <a:lnTo>
                  <a:pt x="0" y="2957937"/>
                </a:lnTo>
                <a:close/>
              </a:path>
            </a:pathLst>
          </a:custGeom>
          <a:solidFill>
            <a:srgbClr val="005191">
              <a:alpha val="6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005191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24B80AE-CD07-4053-764F-D2D2EE73506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1201283"/>
            <a:ext cx="2894574" cy="5456097"/>
          </a:xfrm>
          <a:custGeom>
            <a:avLst/>
            <a:gdLst>
              <a:gd name="connsiteX0" fmla="*/ 2759851 w 2894574"/>
              <a:gd name="connsiteY0" fmla="*/ 40 h 5456097"/>
              <a:gd name="connsiteX1" fmla="*/ 2894574 w 2894574"/>
              <a:gd name="connsiteY1" fmla="*/ 222154 h 5456097"/>
              <a:gd name="connsiteX2" fmla="*/ 2894574 w 2894574"/>
              <a:gd name="connsiteY2" fmla="*/ 2250366 h 5456097"/>
              <a:gd name="connsiteX3" fmla="*/ 2588555 w 2894574"/>
              <a:gd name="connsiteY3" fmla="*/ 2968840 h 5456097"/>
              <a:gd name="connsiteX4" fmla="*/ 0 w 2894574"/>
              <a:gd name="connsiteY4" fmla="*/ 5456097 h 5456097"/>
              <a:gd name="connsiteX5" fmla="*/ 0 w 2894574"/>
              <a:gd name="connsiteY5" fmla="*/ 2586310 h 5456097"/>
              <a:gd name="connsiteX6" fmla="*/ 2588842 w 2894574"/>
              <a:gd name="connsiteY6" fmla="*/ 92068 h 5456097"/>
              <a:gd name="connsiteX7" fmla="*/ 2759851 w 2894574"/>
              <a:gd name="connsiteY7" fmla="*/ 40 h 5456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94574" h="5456097">
                <a:moveTo>
                  <a:pt x="2759851" y="40"/>
                </a:moveTo>
                <a:cubicBezTo>
                  <a:pt x="2841168" y="-2011"/>
                  <a:pt x="2894574" y="75594"/>
                  <a:pt x="2894574" y="222154"/>
                </a:cubicBezTo>
                <a:lnTo>
                  <a:pt x="2894574" y="2250366"/>
                </a:lnTo>
                <a:cubicBezTo>
                  <a:pt x="2894574" y="2484862"/>
                  <a:pt x="2757569" y="2806453"/>
                  <a:pt x="2588555" y="2968840"/>
                </a:cubicBezTo>
                <a:lnTo>
                  <a:pt x="0" y="5456097"/>
                </a:lnTo>
                <a:lnTo>
                  <a:pt x="0" y="2586310"/>
                </a:lnTo>
                <a:lnTo>
                  <a:pt x="2588842" y="92068"/>
                </a:lnTo>
                <a:cubicBezTo>
                  <a:pt x="2652222" y="31176"/>
                  <a:pt x="2711061" y="1270"/>
                  <a:pt x="2759851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0" name="Text Placeholder 16">
            <a:extLst>
              <a:ext uri="{FF2B5EF4-FFF2-40B4-BE49-F238E27FC236}">
                <a16:creationId xmlns:a16="http://schemas.microsoft.com/office/drawing/2014/main" id="{3616F16A-2EBD-FF57-821F-BEDC5EABA4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1" name="Title 6">
            <a:extLst>
              <a:ext uri="{FF2B5EF4-FFF2-40B4-BE49-F238E27FC236}">
                <a16:creationId xmlns:a16="http://schemas.microsoft.com/office/drawing/2014/main" id="{F433FC08-0F53-7D5A-16B3-BEF9BC1A81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7" name="Text Placeholder 136">
            <a:extLst>
              <a:ext uri="{FF2B5EF4-FFF2-40B4-BE49-F238E27FC236}">
                <a16:creationId xmlns:a16="http://schemas.microsoft.com/office/drawing/2014/main" id="{60576821-C4B3-606F-FA98-DE0E26E257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" y="949365"/>
            <a:ext cx="1491321" cy="3079866"/>
          </a:xfrm>
          <a:custGeom>
            <a:avLst/>
            <a:gdLst>
              <a:gd name="connsiteX0" fmla="*/ 1408371 w 1491321"/>
              <a:gd name="connsiteY0" fmla="*/ 25 h 3079866"/>
              <a:gd name="connsiteX1" fmla="*/ 1436224 w 1491321"/>
              <a:gd name="connsiteY1" fmla="*/ 5100 h 3079866"/>
              <a:gd name="connsiteX2" fmla="*/ 1491321 w 1491321"/>
              <a:gd name="connsiteY2" fmla="*/ 136783 h 3079866"/>
              <a:gd name="connsiteX3" fmla="*/ 1491321 w 1491321"/>
              <a:gd name="connsiteY3" fmla="*/ 1385578 h 3079866"/>
              <a:gd name="connsiteX4" fmla="*/ 1302902 w 1491321"/>
              <a:gd name="connsiteY4" fmla="*/ 1827951 h 3079866"/>
              <a:gd name="connsiteX5" fmla="*/ 0 w 1491321"/>
              <a:gd name="connsiteY5" fmla="*/ 3079866 h 3079866"/>
              <a:gd name="connsiteX6" fmla="*/ 0 w 1491321"/>
              <a:gd name="connsiteY6" fmla="*/ 1312149 h 3079866"/>
              <a:gd name="connsiteX7" fmla="*/ 1303078 w 1491321"/>
              <a:gd name="connsiteY7" fmla="*/ 56688 h 3079866"/>
              <a:gd name="connsiteX8" fmla="*/ 1408371 w 1491321"/>
              <a:gd name="connsiteY8" fmla="*/ 25 h 3079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91321" h="3079866">
                <a:moveTo>
                  <a:pt x="1408371" y="25"/>
                </a:moveTo>
                <a:cubicBezTo>
                  <a:pt x="1418385" y="-228"/>
                  <a:pt x="1427711" y="1482"/>
                  <a:pt x="1436224" y="5100"/>
                </a:cubicBezTo>
                <a:cubicBezTo>
                  <a:pt x="1470277" y="19573"/>
                  <a:pt x="1491321" y="64592"/>
                  <a:pt x="1491321" y="136783"/>
                </a:cubicBezTo>
                <a:lnTo>
                  <a:pt x="1491321" y="1385578"/>
                </a:lnTo>
                <a:cubicBezTo>
                  <a:pt x="1491321" y="1529960"/>
                  <a:pt x="1406966" y="1727967"/>
                  <a:pt x="1302902" y="1827951"/>
                </a:cubicBezTo>
                <a:lnTo>
                  <a:pt x="0" y="3079866"/>
                </a:lnTo>
                <a:lnTo>
                  <a:pt x="0" y="1312149"/>
                </a:lnTo>
                <a:lnTo>
                  <a:pt x="1303078" y="56688"/>
                </a:lnTo>
                <a:cubicBezTo>
                  <a:pt x="1342102" y="19196"/>
                  <a:pt x="1378330" y="782"/>
                  <a:pt x="1408371" y="25"/>
                </a:cubicBezTo>
                <a:close/>
              </a:path>
            </a:pathLst>
          </a:custGeom>
          <a:solidFill>
            <a:srgbClr val="F07E26">
              <a:alpha val="35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1" name="Text Placeholder 140">
            <a:extLst>
              <a:ext uri="{FF2B5EF4-FFF2-40B4-BE49-F238E27FC236}">
                <a16:creationId xmlns:a16="http://schemas.microsoft.com/office/drawing/2014/main" id="{EE94B476-1FBF-439D-7B43-D444A70406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0740" y="4291002"/>
            <a:ext cx="2822963" cy="2566999"/>
          </a:xfrm>
          <a:custGeom>
            <a:avLst/>
            <a:gdLst>
              <a:gd name="connsiteX0" fmla="*/ 101667 w 2822963"/>
              <a:gd name="connsiteY0" fmla="*/ 30 h 2566999"/>
              <a:gd name="connsiteX1" fmla="*/ 230717 w 2822963"/>
              <a:gd name="connsiteY1" fmla="*/ 69478 h 2566999"/>
              <a:gd name="connsiteX2" fmla="*/ 2822963 w 2822963"/>
              <a:gd name="connsiteY2" fmla="*/ 2566999 h 2566999"/>
              <a:gd name="connsiteX3" fmla="*/ 570843 w 2822963"/>
              <a:gd name="connsiteY3" fmla="*/ 2566999 h 2566999"/>
              <a:gd name="connsiteX4" fmla="*/ 230933 w 2822963"/>
              <a:gd name="connsiteY4" fmla="*/ 2240391 h 2566999"/>
              <a:gd name="connsiteX5" fmla="*/ 0 w 2822963"/>
              <a:gd name="connsiteY5" fmla="*/ 1698206 h 2566999"/>
              <a:gd name="connsiteX6" fmla="*/ 0 w 2822963"/>
              <a:gd name="connsiteY6" fmla="*/ 167645 h 2566999"/>
              <a:gd name="connsiteX7" fmla="*/ 101667 w 2822963"/>
              <a:gd name="connsiteY7" fmla="*/ 30 h 256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22963" h="2566999">
                <a:moveTo>
                  <a:pt x="101667" y="30"/>
                </a:moveTo>
                <a:cubicBezTo>
                  <a:pt x="138486" y="958"/>
                  <a:pt x="182888" y="23526"/>
                  <a:pt x="230717" y="69478"/>
                </a:cubicBezTo>
                <a:lnTo>
                  <a:pt x="2822963" y="2566999"/>
                </a:lnTo>
                <a:lnTo>
                  <a:pt x="570843" y="2566999"/>
                </a:lnTo>
                <a:lnTo>
                  <a:pt x="230933" y="2240391"/>
                </a:lnTo>
                <a:cubicBezTo>
                  <a:pt x="103389" y="2117848"/>
                  <a:pt x="0" y="1875164"/>
                  <a:pt x="0" y="1698206"/>
                </a:cubicBezTo>
                <a:lnTo>
                  <a:pt x="0" y="167645"/>
                </a:lnTo>
                <a:cubicBezTo>
                  <a:pt x="0" y="57045"/>
                  <a:pt x="40302" y="-1518"/>
                  <a:pt x="101667" y="30"/>
                </a:cubicBezTo>
                <a:close/>
              </a:path>
            </a:pathLst>
          </a:custGeom>
          <a:solidFill>
            <a:srgbClr val="97BE0D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97BE0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28301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41D2A663-B8CD-4B9D-546F-D365D2134A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48427" y="0"/>
            <a:ext cx="5743573" cy="6858000"/>
          </a:xfrm>
          <a:custGeom>
            <a:avLst/>
            <a:gdLst>
              <a:gd name="connsiteX0" fmla="*/ 3165530 w 5743573"/>
              <a:gd name="connsiteY0" fmla="*/ 0 h 6858000"/>
              <a:gd name="connsiteX1" fmla="*/ 5743573 w 5743573"/>
              <a:gd name="connsiteY1" fmla="*/ 0 h 6858000"/>
              <a:gd name="connsiteX2" fmla="*/ 5743573 w 5743573"/>
              <a:gd name="connsiteY2" fmla="*/ 4429751 h 6858000"/>
              <a:gd name="connsiteX3" fmla="*/ 3223227 w 5743573"/>
              <a:gd name="connsiteY3" fmla="*/ 6858000 h 6858000"/>
              <a:gd name="connsiteX4" fmla="*/ 0 w 5743573"/>
              <a:gd name="connsiteY4" fmla="*/ 6858000 h 6858000"/>
              <a:gd name="connsiteX5" fmla="*/ 0 w 5743573"/>
              <a:gd name="connsiteY5" fmla="*/ 4062689 h 6858000"/>
              <a:gd name="connsiteX6" fmla="*/ 736180 w 5743573"/>
              <a:gd name="connsiteY6" fmla="*/ 23342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43573" h="6858000">
                <a:moveTo>
                  <a:pt x="3165530" y="0"/>
                </a:moveTo>
                <a:lnTo>
                  <a:pt x="5743573" y="0"/>
                </a:lnTo>
                <a:lnTo>
                  <a:pt x="5743573" y="4429751"/>
                </a:lnTo>
                <a:lnTo>
                  <a:pt x="3223227" y="6858000"/>
                </a:lnTo>
                <a:lnTo>
                  <a:pt x="0" y="6858000"/>
                </a:lnTo>
                <a:lnTo>
                  <a:pt x="0" y="4062689"/>
                </a:lnTo>
                <a:cubicBezTo>
                  <a:pt x="0" y="3498571"/>
                  <a:pt x="329588" y="2724931"/>
                  <a:pt x="736180" y="2334283"/>
                </a:cubicBezTo>
                <a:close/>
              </a:path>
            </a:pathLst>
          </a:custGeom>
          <a:solidFill>
            <a:srgbClr val="DC006B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DC006B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AE7C4F3D-2874-1BB6-EA25-268A627F87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80135" y="3806402"/>
            <a:ext cx="3359734" cy="3051598"/>
          </a:xfrm>
          <a:custGeom>
            <a:avLst/>
            <a:gdLst>
              <a:gd name="connsiteX0" fmla="*/ 3236405 w 3359734"/>
              <a:gd name="connsiteY0" fmla="*/ 37 h 3051598"/>
              <a:gd name="connsiteX1" fmla="*/ 3359734 w 3359734"/>
              <a:gd name="connsiteY1" fmla="*/ 203367 h 3051598"/>
              <a:gd name="connsiteX2" fmla="*/ 3359734 w 3359734"/>
              <a:gd name="connsiteY2" fmla="*/ 2060053 h 3051598"/>
              <a:gd name="connsiteX3" fmla="*/ 3079596 w 3359734"/>
              <a:gd name="connsiteY3" fmla="*/ 2717765 h 3051598"/>
              <a:gd name="connsiteX4" fmla="*/ 2732167 w 3359734"/>
              <a:gd name="connsiteY4" fmla="*/ 3051598 h 3051598"/>
              <a:gd name="connsiteX5" fmla="*/ 0 w 3359734"/>
              <a:gd name="connsiteY5" fmla="*/ 3051598 h 3051598"/>
              <a:gd name="connsiteX6" fmla="*/ 3079858 w 3359734"/>
              <a:gd name="connsiteY6" fmla="*/ 84283 h 3051598"/>
              <a:gd name="connsiteX7" fmla="*/ 3236405 w 3359734"/>
              <a:gd name="connsiteY7" fmla="*/ 37 h 305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59734" h="3051598">
                <a:moveTo>
                  <a:pt x="3236405" y="37"/>
                </a:moveTo>
                <a:cubicBezTo>
                  <a:pt x="3310845" y="-1841"/>
                  <a:pt x="3359734" y="69201"/>
                  <a:pt x="3359734" y="203367"/>
                </a:cubicBezTo>
                <a:lnTo>
                  <a:pt x="3359734" y="2060053"/>
                </a:lnTo>
                <a:cubicBezTo>
                  <a:pt x="3359734" y="2274717"/>
                  <a:pt x="3234316" y="2569111"/>
                  <a:pt x="3079596" y="2717765"/>
                </a:cubicBezTo>
                <a:lnTo>
                  <a:pt x="2732167" y="3051598"/>
                </a:lnTo>
                <a:lnTo>
                  <a:pt x="0" y="3051598"/>
                </a:lnTo>
                <a:lnTo>
                  <a:pt x="3079858" y="84283"/>
                </a:lnTo>
                <a:cubicBezTo>
                  <a:pt x="3137878" y="28540"/>
                  <a:pt x="3191741" y="1163"/>
                  <a:pt x="3236405" y="37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50" name="Text Placeholder 149">
            <a:extLst>
              <a:ext uri="{FF2B5EF4-FFF2-40B4-BE49-F238E27FC236}">
                <a16:creationId xmlns:a16="http://schemas.microsoft.com/office/drawing/2014/main" id="{D7538C79-ED97-E435-0FE8-C0DB8652DF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60002" y="4005064"/>
            <a:ext cx="3531998" cy="2852936"/>
          </a:xfrm>
          <a:custGeom>
            <a:avLst/>
            <a:gdLst>
              <a:gd name="connsiteX0" fmla="*/ 2961142 w 3531998"/>
              <a:gd name="connsiteY0" fmla="*/ 0 h 2852936"/>
              <a:gd name="connsiteX1" fmla="*/ 3531998 w 3531998"/>
              <a:gd name="connsiteY1" fmla="*/ 0 h 2852936"/>
              <a:gd name="connsiteX2" fmla="*/ 3531998 w 3531998"/>
              <a:gd name="connsiteY2" fmla="*/ 2239358 h 2852936"/>
              <a:gd name="connsiteX3" fmla="*/ 3531188 w 3531998"/>
              <a:gd name="connsiteY3" fmla="*/ 2241499 h 2852936"/>
              <a:gd name="connsiteX4" fmla="*/ 3311816 w 3531998"/>
              <a:gd name="connsiteY4" fmla="*/ 2578272 h 2852936"/>
              <a:gd name="connsiteX5" fmla="*/ 3025965 w 3531998"/>
              <a:gd name="connsiteY5" fmla="*/ 2852936 h 2852936"/>
              <a:gd name="connsiteX6" fmla="*/ 0 w 3531998"/>
              <a:gd name="connsiteY6" fmla="*/ 2852936 h 2852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31998" h="2852936">
                <a:moveTo>
                  <a:pt x="2961142" y="0"/>
                </a:moveTo>
                <a:lnTo>
                  <a:pt x="3531998" y="0"/>
                </a:lnTo>
                <a:lnTo>
                  <a:pt x="3531998" y="2239358"/>
                </a:lnTo>
                <a:lnTo>
                  <a:pt x="3531188" y="2241499"/>
                </a:lnTo>
                <a:cubicBezTo>
                  <a:pt x="3475046" y="2373298"/>
                  <a:pt x="3397487" y="2495960"/>
                  <a:pt x="3311816" y="2578272"/>
                </a:cubicBezTo>
                <a:lnTo>
                  <a:pt x="3025965" y="2852936"/>
                </a:lnTo>
                <a:lnTo>
                  <a:pt x="0" y="2852936"/>
                </a:lnTo>
                <a:close/>
              </a:path>
            </a:pathLst>
          </a:custGeom>
          <a:solidFill>
            <a:srgbClr val="005191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005191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68933960-D0E9-BA3A-2718-21D31502D72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766470" y="1269106"/>
            <a:ext cx="2425530" cy="3969769"/>
          </a:xfrm>
          <a:custGeom>
            <a:avLst/>
            <a:gdLst>
              <a:gd name="connsiteX0" fmla="*/ 82560 w 2425530"/>
              <a:gd name="connsiteY0" fmla="*/ 25 h 3969769"/>
              <a:gd name="connsiteX1" fmla="*/ 187358 w 2425530"/>
              <a:gd name="connsiteY1" fmla="*/ 56422 h 3969769"/>
              <a:gd name="connsiteX2" fmla="*/ 2425530 w 2425530"/>
              <a:gd name="connsiteY2" fmla="*/ 2212808 h 3969769"/>
              <a:gd name="connsiteX3" fmla="*/ 2425530 w 2425530"/>
              <a:gd name="connsiteY3" fmla="*/ 3969769 h 3969769"/>
              <a:gd name="connsiteX4" fmla="*/ 187533 w 2425530"/>
              <a:gd name="connsiteY4" fmla="*/ 1819352 h 3969769"/>
              <a:gd name="connsiteX5" fmla="*/ 0 w 2425530"/>
              <a:gd name="connsiteY5" fmla="*/ 1379060 h 3969769"/>
              <a:gd name="connsiteX6" fmla="*/ 0 w 2425530"/>
              <a:gd name="connsiteY6" fmla="*/ 136140 h 3969769"/>
              <a:gd name="connsiteX7" fmla="*/ 82560 w 2425530"/>
              <a:gd name="connsiteY7" fmla="*/ 25 h 3969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25530" h="3969769">
                <a:moveTo>
                  <a:pt x="82560" y="25"/>
                </a:moveTo>
                <a:cubicBezTo>
                  <a:pt x="112460" y="779"/>
                  <a:pt x="148517" y="19106"/>
                  <a:pt x="187358" y="56422"/>
                </a:cubicBezTo>
                <a:lnTo>
                  <a:pt x="2425530" y="2212808"/>
                </a:lnTo>
                <a:lnTo>
                  <a:pt x="2425530" y="3969769"/>
                </a:lnTo>
                <a:lnTo>
                  <a:pt x="187533" y="1819352"/>
                </a:lnTo>
                <a:cubicBezTo>
                  <a:pt x="83959" y="1719838"/>
                  <a:pt x="0" y="1522763"/>
                  <a:pt x="0" y="1379060"/>
                </a:cubicBezTo>
                <a:lnTo>
                  <a:pt x="0" y="136140"/>
                </a:lnTo>
                <a:cubicBezTo>
                  <a:pt x="0" y="46326"/>
                  <a:pt x="32728" y="-1232"/>
                  <a:pt x="82560" y="2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B97B3D90-8508-16DD-F3A6-858BCE6CC25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846794" y="731163"/>
            <a:ext cx="1345206" cy="2758018"/>
          </a:xfrm>
          <a:custGeom>
            <a:avLst/>
            <a:gdLst>
              <a:gd name="connsiteX0" fmla="*/ 49027 w 1345206"/>
              <a:gd name="connsiteY0" fmla="*/ 4538 h 2758018"/>
              <a:gd name="connsiteX1" fmla="*/ 167504 w 1345206"/>
              <a:gd name="connsiteY1" fmla="*/ 50442 h 2758018"/>
              <a:gd name="connsiteX2" fmla="*/ 1345206 w 1345206"/>
              <a:gd name="connsiteY2" fmla="*/ 1185109 h 2758018"/>
              <a:gd name="connsiteX3" fmla="*/ 1345206 w 1345206"/>
              <a:gd name="connsiteY3" fmla="*/ 2758018 h 2758018"/>
              <a:gd name="connsiteX4" fmla="*/ 167661 w 1345206"/>
              <a:gd name="connsiteY4" fmla="*/ 1626553 h 2758018"/>
              <a:gd name="connsiteX5" fmla="*/ 0 w 1345206"/>
              <a:gd name="connsiteY5" fmla="*/ 1232920 h 2758018"/>
              <a:gd name="connsiteX6" fmla="*/ 0 w 1345206"/>
              <a:gd name="connsiteY6" fmla="*/ 121712 h 2758018"/>
              <a:gd name="connsiteX7" fmla="*/ 49027 w 1345206"/>
              <a:gd name="connsiteY7" fmla="*/ 4538 h 2758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45206" h="2758018">
                <a:moveTo>
                  <a:pt x="49027" y="4538"/>
                </a:moveTo>
                <a:cubicBezTo>
                  <a:pt x="79329" y="-8341"/>
                  <a:pt x="121205" y="5960"/>
                  <a:pt x="167504" y="50442"/>
                </a:cubicBezTo>
                <a:lnTo>
                  <a:pt x="1345206" y="1185109"/>
                </a:lnTo>
                <a:lnTo>
                  <a:pt x="1345206" y="2758018"/>
                </a:lnTo>
                <a:lnTo>
                  <a:pt x="167661" y="1626553"/>
                </a:lnTo>
                <a:cubicBezTo>
                  <a:pt x="75062" y="1537586"/>
                  <a:pt x="0" y="1361394"/>
                  <a:pt x="0" y="1232920"/>
                </a:cubicBezTo>
                <a:lnTo>
                  <a:pt x="0" y="121712"/>
                </a:lnTo>
                <a:cubicBezTo>
                  <a:pt x="0" y="57475"/>
                  <a:pt x="18726" y="17417"/>
                  <a:pt x="49027" y="4538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51" name="Content Placeholder 2">
            <a:extLst>
              <a:ext uri="{FF2B5EF4-FFF2-40B4-BE49-F238E27FC236}">
                <a16:creationId xmlns:a16="http://schemas.microsoft.com/office/drawing/2014/main" id="{4BCD8A3B-1B66-A7C2-3F99-836A5351B0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628801"/>
            <a:ext cx="6696249" cy="4608487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2" name="Title 11">
            <a:extLst>
              <a:ext uri="{FF2B5EF4-FFF2-40B4-BE49-F238E27FC236}">
                <a16:creationId xmlns:a16="http://schemas.microsoft.com/office/drawing/2014/main" id="{4A069A78-03A3-241A-C6F5-23375408E8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6707679" cy="10801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08443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1">
    <p:bg>
      <p:bgPr>
        <a:solidFill>
          <a:srgbClr val="00519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chemeClr val="tx2">
              <a:alpha val="20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7" name="Title 11">
            <a:extLst>
              <a:ext uri="{FF2B5EF4-FFF2-40B4-BE49-F238E27FC236}">
                <a16:creationId xmlns:a16="http://schemas.microsoft.com/office/drawing/2014/main" id="{B5447781-1A60-817C-CFAD-D761E4374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36484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2">
    <p:bg>
      <p:bgPr>
        <a:solidFill>
          <a:srgbClr val="750D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rgbClr val="DC006B">
              <a:alpha val="18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7" name="Title 11">
            <a:extLst>
              <a:ext uri="{FF2B5EF4-FFF2-40B4-BE49-F238E27FC236}">
                <a16:creationId xmlns:a16="http://schemas.microsoft.com/office/drawing/2014/main" id="{49962258-50C2-AAFE-1D2D-C8E38A0BE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192987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AF4B8F-A862-F001-2FFD-8DFCAEA1346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1847" y="1709735"/>
            <a:ext cx="10515600" cy="2852735"/>
          </a:xfrm>
        </p:spPr>
        <p:txBody>
          <a:bodyPr anchor="b"/>
          <a:lstStyle>
            <a:lvl1pPr>
              <a:defRPr sz="6000"/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37CA6F-841E-1C39-33F5-E06E4330944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831847" y="4589465"/>
            <a:ext cx="10515600" cy="1500182"/>
          </a:xfrm>
        </p:spPr>
        <p:txBody>
          <a:bodyPr/>
          <a:lstStyle>
            <a:lvl1pPr marL="0" indent="0">
              <a:buNone/>
              <a:defRPr sz="2400">
                <a:solidFill>
                  <a:srgbClr val="767676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889A8F-23E3-480F-2C65-170F2A9742A6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70DF486A-DAD4-4B1F-A2CB-C9EB16FF39A8}" type="datetime1">
              <a:rPr lang="fr-FR"/>
              <a:pPr lvl="0"/>
              <a:t>03/04/2024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01C60C-5E82-67BF-F21A-E786C83AB282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ACC98D-7223-0061-E5CF-D8EC778AA4C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D7970171-23D4-4C11-9C15-C98A541E0C29}" type="slidenum"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038066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rgbClr val="009BA4">
              <a:alpha val="4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7" name="Title 11">
            <a:extLst>
              <a:ext uri="{FF2B5EF4-FFF2-40B4-BE49-F238E27FC236}">
                <a16:creationId xmlns:a16="http://schemas.microsoft.com/office/drawing/2014/main" id="{8D165B35-791B-F74A-B5BD-15E5DF79C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83490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4">
    <p:bg>
      <p:bgPr>
        <a:solidFill>
          <a:srgbClr val="00A070">
            <a:alpha val="3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5" name="Title 11">
            <a:extLst>
              <a:ext uri="{FF2B5EF4-FFF2-40B4-BE49-F238E27FC236}">
                <a16:creationId xmlns:a16="http://schemas.microsoft.com/office/drawing/2014/main" id="{E47DAE63-DEA0-E46F-C169-4404F2E29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375335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solidFill>
          <a:srgbClr val="750D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FCA15A6-5D9D-7EB0-7EAB-66136DC09318}"/>
              </a:ext>
            </a:extLst>
          </p:cNvPr>
          <p:cNvSpPr/>
          <p:nvPr userDrawn="1"/>
        </p:nvSpPr>
        <p:spPr>
          <a:xfrm>
            <a:off x="4670361" y="334156"/>
            <a:ext cx="6168665" cy="6506999"/>
          </a:xfrm>
          <a:custGeom>
            <a:avLst/>
            <a:gdLst>
              <a:gd name="connsiteX0" fmla="*/ 5982236 w 6168665"/>
              <a:gd name="connsiteY0" fmla="*/ 55 h 6506999"/>
              <a:gd name="connsiteX1" fmla="*/ 6168665 w 6168665"/>
              <a:gd name="connsiteY1" fmla="*/ 307414 h 6506999"/>
              <a:gd name="connsiteX2" fmla="*/ 6168665 w 6168665"/>
              <a:gd name="connsiteY2" fmla="*/ 3114034 h 6506999"/>
              <a:gd name="connsiteX3" fmla="*/ 5745199 w 6168665"/>
              <a:gd name="connsiteY3" fmla="*/ 4108249 h 6506999"/>
              <a:gd name="connsiteX4" fmla="*/ 3248756 w 6168665"/>
              <a:gd name="connsiteY4" fmla="*/ 6506999 h 6506999"/>
              <a:gd name="connsiteX5" fmla="*/ 0 w 6168665"/>
              <a:gd name="connsiteY5" fmla="*/ 6506999 h 6506999"/>
              <a:gd name="connsiteX6" fmla="*/ 1037 w 6168665"/>
              <a:gd name="connsiteY6" fmla="*/ 6246740 h 6506999"/>
              <a:gd name="connsiteX7" fmla="*/ 426494 w 6168665"/>
              <a:gd name="connsiteY7" fmla="*/ 5252136 h 6506999"/>
              <a:gd name="connsiteX8" fmla="*/ 5745595 w 6168665"/>
              <a:gd name="connsiteY8" fmla="*/ 127404 h 6506999"/>
              <a:gd name="connsiteX9" fmla="*/ 5982236 w 6168665"/>
              <a:gd name="connsiteY9" fmla="*/ 55 h 650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8665" h="6506999">
                <a:moveTo>
                  <a:pt x="5982236" y="55"/>
                </a:moveTo>
                <a:cubicBezTo>
                  <a:pt x="6094763" y="-2782"/>
                  <a:pt x="6168665" y="104606"/>
                  <a:pt x="6168665" y="307414"/>
                </a:cubicBezTo>
                <a:lnTo>
                  <a:pt x="6168665" y="3114034"/>
                </a:lnTo>
                <a:cubicBezTo>
                  <a:pt x="6168665" y="3438526"/>
                  <a:pt x="5979079" y="3883540"/>
                  <a:pt x="5745199" y="4108249"/>
                </a:cubicBezTo>
                <a:lnTo>
                  <a:pt x="3248756" y="6506999"/>
                </a:lnTo>
                <a:lnTo>
                  <a:pt x="0" y="6506999"/>
                </a:lnTo>
                <a:lnTo>
                  <a:pt x="1037" y="6246740"/>
                </a:lnTo>
                <a:cubicBezTo>
                  <a:pt x="1037" y="5922256"/>
                  <a:pt x="193010" y="5477233"/>
                  <a:pt x="426494" y="5252136"/>
                </a:cubicBezTo>
                <a:lnTo>
                  <a:pt x="5745595" y="127404"/>
                </a:lnTo>
                <a:cubicBezTo>
                  <a:pt x="5833300" y="43141"/>
                  <a:pt x="5914720" y="1758"/>
                  <a:pt x="5982236" y="55"/>
                </a:cubicBezTo>
                <a:close/>
              </a:path>
            </a:pathLst>
          </a:custGeom>
          <a:solidFill>
            <a:srgbClr val="00A070">
              <a:alpha val="76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E0AC103-BF79-BBD4-4F66-81534E3E49E0}"/>
              </a:ext>
            </a:extLst>
          </p:cNvPr>
          <p:cNvSpPr/>
          <p:nvPr userDrawn="1"/>
        </p:nvSpPr>
        <p:spPr>
          <a:xfrm>
            <a:off x="7104112" y="855869"/>
            <a:ext cx="2174700" cy="3294723"/>
          </a:xfrm>
          <a:custGeom>
            <a:avLst/>
            <a:gdLst>
              <a:gd name="connsiteX0" fmla="*/ 1805 w 716872"/>
              <a:gd name="connsiteY0" fmla="*/ 724844 h 1086078"/>
              <a:gd name="connsiteX1" fmla="*/ 51167 w 716872"/>
              <a:gd name="connsiteY1" fmla="*/ 609449 h 1086078"/>
              <a:gd name="connsiteX2" fmla="*/ 668295 w 716872"/>
              <a:gd name="connsiteY2" fmla="*/ 14872 h 1086078"/>
              <a:gd name="connsiteX3" fmla="*/ 717380 w 716872"/>
              <a:gd name="connsiteY3" fmla="*/ 35757 h 1086078"/>
              <a:gd name="connsiteX4" fmla="*/ 717380 w 716872"/>
              <a:gd name="connsiteY4" fmla="*/ 361384 h 1086078"/>
              <a:gd name="connsiteX5" fmla="*/ 668249 w 716872"/>
              <a:gd name="connsiteY5" fmla="*/ 476734 h 1086078"/>
              <a:gd name="connsiteX6" fmla="*/ 49361 w 716872"/>
              <a:gd name="connsiteY6" fmla="*/ 1071403 h 1086078"/>
              <a:gd name="connsiteX7" fmla="*/ 508 w 716872"/>
              <a:gd name="connsiteY7" fmla="*/ 1050472 h 1086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6872" h="1086078">
                <a:moveTo>
                  <a:pt x="1805" y="724844"/>
                </a:moveTo>
                <a:cubicBezTo>
                  <a:pt x="1805" y="687197"/>
                  <a:pt x="24078" y="635565"/>
                  <a:pt x="51167" y="609449"/>
                </a:cubicBezTo>
                <a:lnTo>
                  <a:pt x="668295" y="14872"/>
                </a:lnTo>
                <a:cubicBezTo>
                  <a:pt x="695430" y="-11198"/>
                  <a:pt x="717380" y="-1891"/>
                  <a:pt x="717380" y="35757"/>
                </a:cubicBezTo>
                <a:lnTo>
                  <a:pt x="717380" y="361384"/>
                </a:lnTo>
                <a:cubicBezTo>
                  <a:pt x="717380" y="399032"/>
                  <a:pt x="695384" y="450663"/>
                  <a:pt x="668249" y="476734"/>
                </a:cubicBezTo>
                <a:lnTo>
                  <a:pt x="49361" y="1071403"/>
                </a:lnTo>
                <a:cubicBezTo>
                  <a:pt x="22226" y="1097473"/>
                  <a:pt x="369" y="1088119"/>
                  <a:pt x="508" y="1050472"/>
                </a:cubicBezTo>
                <a:close/>
              </a:path>
            </a:pathLst>
          </a:custGeom>
          <a:solidFill>
            <a:srgbClr val="E9473D">
              <a:alpha val="45000"/>
            </a:srgbClr>
          </a:solidFill>
          <a:ln w="463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8753DF1-4BC3-4EAD-9B6F-2E71E9BC65E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-13402"/>
            <a:ext cx="9048328" cy="6871402"/>
          </a:xfrm>
          <a:custGeom>
            <a:avLst/>
            <a:gdLst>
              <a:gd name="connsiteX0" fmla="*/ 1078275 w 8986314"/>
              <a:gd name="connsiteY0" fmla="*/ 0 h 6824308"/>
              <a:gd name="connsiteX1" fmla="*/ 8986314 w 8986314"/>
              <a:gd name="connsiteY1" fmla="*/ 0 h 6824308"/>
              <a:gd name="connsiteX2" fmla="*/ 8885776 w 8986314"/>
              <a:gd name="connsiteY2" fmla="*/ 211633 h 6824308"/>
              <a:gd name="connsiteX3" fmla="*/ 8413938 w 8986314"/>
              <a:gd name="connsiteY3" fmla="*/ 864817 h 6824308"/>
              <a:gd name="connsiteX4" fmla="*/ 2211738 w 8986314"/>
              <a:gd name="connsiteY4" fmla="*/ 6824308 h 6824308"/>
              <a:gd name="connsiteX5" fmla="*/ 0 w 8986314"/>
              <a:gd name="connsiteY5" fmla="*/ 6824308 h 6824308"/>
              <a:gd name="connsiteX6" fmla="*/ 0 w 8986314"/>
              <a:gd name="connsiteY6" fmla="*/ 1038873 h 6824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86314" h="6824308">
                <a:moveTo>
                  <a:pt x="1078275" y="0"/>
                </a:moveTo>
                <a:lnTo>
                  <a:pt x="8986314" y="0"/>
                </a:lnTo>
                <a:lnTo>
                  <a:pt x="8885776" y="211633"/>
                </a:lnTo>
                <a:cubicBezTo>
                  <a:pt x="8751089" y="467221"/>
                  <a:pt x="8588720" y="696889"/>
                  <a:pt x="8413938" y="864817"/>
                </a:cubicBezTo>
                <a:lnTo>
                  <a:pt x="2211738" y="6824308"/>
                </a:lnTo>
                <a:lnTo>
                  <a:pt x="0" y="6824308"/>
                </a:lnTo>
                <a:lnTo>
                  <a:pt x="0" y="103887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5A6D1114-3527-E0DC-8823-3465CE4FEE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90" y="2636913"/>
            <a:ext cx="10944222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nter title here</a:t>
            </a:r>
            <a:endParaRPr lang="en-GB"/>
          </a:p>
        </p:txBody>
      </p:sp>
      <p:sp>
        <p:nvSpPr>
          <p:cNvPr id="121" name="Text Placeholder 120">
            <a:extLst>
              <a:ext uri="{FF2B5EF4-FFF2-40B4-BE49-F238E27FC236}">
                <a16:creationId xmlns:a16="http://schemas.microsoft.com/office/drawing/2014/main" id="{CC9B63C1-5D83-8FAB-57CF-FDDC4C7A47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9672" y="1197179"/>
            <a:ext cx="3374582" cy="5112571"/>
          </a:xfrm>
          <a:custGeom>
            <a:avLst/>
            <a:gdLst>
              <a:gd name="connsiteX0" fmla="*/ 101819 w 3374582"/>
              <a:gd name="connsiteY0" fmla="*/ 30 h 5112571"/>
              <a:gd name="connsiteX1" fmla="*/ 231061 w 3374582"/>
              <a:gd name="connsiteY1" fmla="*/ 69582 h 5112571"/>
              <a:gd name="connsiteX2" fmla="*/ 3136108 w 3374582"/>
              <a:gd name="connsiteY2" fmla="*/ 2868474 h 5112571"/>
              <a:gd name="connsiteX3" fmla="*/ 3368473 w 3374582"/>
              <a:gd name="connsiteY3" fmla="*/ 3411681 h 5112571"/>
              <a:gd name="connsiteX4" fmla="*/ 3374579 w 3374582"/>
              <a:gd name="connsiteY4" fmla="*/ 4944532 h 5112571"/>
              <a:gd name="connsiteX5" fmla="*/ 3144610 w 3374582"/>
              <a:gd name="connsiteY5" fmla="*/ 5043062 h 5112571"/>
              <a:gd name="connsiteX6" fmla="*/ 231277 w 3374582"/>
              <a:gd name="connsiteY6" fmla="*/ 2243736 h 5112571"/>
              <a:gd name="connsiteX7" fmla="*/ 0 w 3374582"/>
              <a:gd name="connsiteY7" fmla="*/ 1700741 h 5112571"/>
              <a:gd name="connsiteX8" fmla="*/ 0 w 3374582"/>
              <a:gd name="connsiteY8" fmla="*/ 167895 h 5112571"/>
              <a:gd name="connsiteX9" fmla="*/ 101819 w 3374582"/>
              <a:gd name="connsiteY9" fmla="*/ 30 h 511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74582" h="5112571">
                <a:moveTo>
                  <a:pt x="101819" y="30"/>
                </a:moveTo>
                <a:cubicBezTo>
                  <a:pt x="138693" y="960"/>
                  <a:pt x="183161" y="23562"/>
                  <a:pt x="231061" y="69582"/>
                </a:cubicBezTo>
                <a:lnTo>
                  <a:pt x="3136108" y="2868474"/>
                </a:lnTo>
                <a:cubicBezTo>
                  <a:pt x="3263626" y="2991412"/>
                  <a:pt x="3368473" y="3234463"/>
                  <a:pt x="3368473" y="3411681"/>
                </a:cubicBezTo>
                <a:lnTo>
                  <a:pt x="3374579" y="4944532"/>
                </a:lnTo>
                <a:cubicBezTo>
                  <a:pt x="3375233" y="5121750"/>
                  <a:pt x="3272344" y="5165783"/>
                  <a:pt x="3144610" y="5043062"/>
                </a:cubicBezTo>
                <a:lnTo>
                  <a:pt x="231277" y="2243736"/>
                </a:lnTo>
                <a:cubicBezTo>
                  <a:pt x="103543" y="2121010"/>
                  <a:pt x="0" y="1877964"/>
                  <a:pt x="0" y="1700741"/>
                </a:cubicBezTo>
                <a:lnTo>
                  <a:pt x="0" y="167895"/>
                </a:lnTo>
                <a:cubicBezTo>
                  <a:pt x="0" y="57131"/>
                  <a:pt x="40362" y="-1519"/>
                  <a:pt x="101819" y="30"/>
                </a:cubicBezTo>
                <a:close/>
              </a:path>
            </a:pathLst>
          </a:custGeom>
          <a:solidFill>
            <a:schemeClr val="accent4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10599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6" grpId="0" animBg="1"/>
      <p:bldP spid="18" grpId="0" build="p"/>
      <p:bldP spid="121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AA7C710D-8E47-E3A8-2CF9-60EA5688C4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84353" y="0"/>
            <a:ext cx="8307649" cy="6858000"/>
          </a:xfrm>
          <a:custGeom>
            <a:avLst/>
            <a:gdLst>
              <a:gd name="connsiteX0" fmla="*/ 5698023 w 8307649"/>
              <a:gd name="connsiteY0" fmla="*/ 0 h 6858000"/>
              <a:gd name="connsiteX1" fmla="*/ 8307649 w 8307649"/>
              <a:gd name="connsiteY1" fmla="*/ 0 h 6858000"/>
              <a:gd name="connsiteX2" fmla="*/ 8307649 w 8307649"/>
              <a:gd name="connsiteY2" fmla="*/ 3284129 h 6858000"/>
              <a:gd name="connsiteX3" fmla="*/ 4588225 w 8307649"/>
              <a:gd name="connsiteY3" fmla="*/ 6858000 h 6858000"/>
              <a:gd name="connsiteX4" fmla="*/ 0 w 8307649"/>
              <a:gd name="connsiteY4" fmla="*/ 6858000 h 6858000"/>
              <a:gd name="connsiteX5" fmla="*/ 2065 w 8307649"/>
              <a:gd name="connsiteY5" fmla="*/ 6339573 h 6858000"/>
              <a:gd name="connsiteX6" fmla="*/ 621851 w 8307649"/>
              <a:gd name="connsiteY6" fmla="*/ 48906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07649" h="6858000">
                <a:moveTo>
                  <a:pt x="5698023" y="0"/>
                </a:moveTo>
                <a:lnTo>
                  <a:pt x="8307649" y="0"/>
                </a:lnTo>
                <a:lnTo>
                  <a:pt x="8307649" y="3284129"/>
                </a:lnTo>
                <a:lnTo>
                  <a:pt x="4588225" y="6858000"/>
                </a:lnTo>
                <a:lnTo>
                  <a:pt x="0" y="6858000"/>
                </a:lnTo>
                <a:lnTo>
                  <a:pt x="2065" y="6339573"/>
                </a:lnTo>
                <a:cubicBezTo>
                  <a:pt x="2065" y="5866880"/>
                  <a:pt x="281723" y="5218592"/>
                  <a:pt x="621851" y="4890681"/>
                </a:cubicBezTo>
                <a:close/>
              </a:path>
            </a:pathLst>
          </a:custGeom>
          <a:solidFill>
            <a:schemeClr val="accent2">
              <a:alpha val="1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AC155FC-D973-D576-838C-25A1E227425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050553" y="0"/>
            <a:ext cx="2566530" cy="2324996"/>
          </a:xfrm>
          <a:custGeom>
            <a:avLst/>
            <a:gdLst>
              <a:gd name="connsiteX0" fmla="*/ 465501 w 2566530"/>
              <a:gd name="connsiteY0" fmla="*/ 0 h 2324996"/>
              <a:gd name="connsiteX1" fmla="*/ 2566530 w 2566530"/>
              <a:gd name="connsiteY1" fmla="*/ 0 h 2324996"/>
              <a:gd name="connsiteX2" fmla="*/ 214236 w 2566530"/>
              <a:gd name="connsiteY2" fmla="*/ 2260243 h 2324996"/>
              <a:gd name="connsiteX3" fmla="*/ 3 w 2566530"/>
              <a:gd name="connsiteY3" fmla="*/ 2168455 h 2324996"/>
              <a:gd name="connsiteX4" fmla="*/ 5690 w 2566530"/>
              <a:gd name="connsiteY4" fmla="*/ 740490 h 2324996"/>
              <a:gd name="connsiteX5" fmla="*/ 222156 w 2566530"/>
              <a:gd name="connsiteY5" fmla="*/ 234452 h 232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66530" h="2324996">
                <a:moveTo>
                  <a:pt x="465501" y="0"/>
                </a:moveTo>
                <a:lnTo>
                  <a:pt x="2566530" y="0"/>
                </a:lnTo>
                <a:lnTo>
                  <a:pt x="214236" y="2260243"/>
                </a:lnTo>
                <a:cubicBezTo>
                  <a:pt x="95242" y="2374566"/>
                  <a:pt x="-607" y="2333547"/>
                  <a:pt x="3" y="2168455"/>
                </a:cubicBezTo>
                <a:lnTo>
                  <a:pt x="5690" y="740490"/>
                </a:lnTo>
                <a:cubicBezTo>
                  <a:pt x="5690" y="575398"/>
                  <a:pt x="103363" y="348978"/>
                  <a:pt x="222156" y="23445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94AD9BD-C5AB-9506-5096-F88CE0F314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850755" y="1"/>
            <a:ext cx="1341247" cy="2863547"/>
          </a:xfrm>
          <a:custGeom>
            <a:avLst/>
            <a:gdLst>
              <a:gd name="connsiteX0" fmla="*/ 1024478 w 1341247"/>
              <a:gd name="connsiteY0" fmla="*/ 0 h 2863547"/>
              <a:gd name="connsiteX1" fmla="*/ 1341247 w 1341247"/>
              <a:gd name="connsiteY1" fmla="*/ 0 h 2863547"/>
              <a:gd name="connsiteX2" fmla="*/ 1341247 w 1341247"/>
              <a:gd name="connsiteY2" fmla="*/ 1715886 h 2863547"/>
              <a:gd name="connsiteX3" fmla="*/ 214236 w 1341247"/>
              <a:gd name="connsiteY3" fmla="*/ 2798794 h 2863547"/>
              <a:gd name="connsiteX4" fmla="*/ 3 w 1341247"/>
              <a:gd name="connsiteY4" fmla="*/ 2707006 h 2863547"/>
              <a:gd name="connsiteX5" fmla="*/ 5690 w 1341247"/>
              <a:gd name="connsiteY5" fmla="*/ 1279041 h 2863547"/>
              <a:gd name="connsiteX6" fmla="*/ 222156 w 1341247"/>
              <a:gd name="connsiteY6" fmla="*/ 773003 h 2863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41247" h="2863547">
                <a:moveTo>
                  <a:pt x="1024478" y="0"/>
                </a:moveTo>
                <a:lnTo>
                  <a:pt x="1341247" y="0"/>
                </a:lnTo>
                <a:lnTo>
                  <a:pt x="1341247" y="1715886"/>
                </a:lnTo>
                <a:lnTo>
                  <a:pt x="214236" y="2798794"/>
                </a:lnTo>
                <a:cubicBezTo>
                  <a:pt x="95242" y="2913117"/>
                  <a:pt x="-607" y="2872098"/>
                  <a:pt x="3" y="2707006"/>
                </a:cubicBezTo>
                <a:lnTo>
                  <a:pt x="5690" y="1279041"/>
                </a:lnTo>
                <a:cubicBezTo>
                  <a:pt x="5690" y="1113949"/>
                  <a:pt x="103363" y="887529"/>
                  <a:pt x="222156" y="77300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8" name="Content Placeholder 2">
            <a:extLst>
              <a:ext uri="{FF2B5EF4-FFF2-40B4-BE49-F238E27FC236}">
                <a16:creationId xmlns:a16="http://schemas.microsoft.com/office/drawing/2014/main" id="{023B6287-DC51-AA57-6722-056D2C7952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3067997"/>
            <a:ext cx="5314076" cy="3169291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9" name="Title 11">
            <a:extLst>
              <a:ext uri="{FF2B5EF4-FFF2-40B4-BE49-F238E27FC236}">
                <a16:creationId xmlns:a16="http://schemas.microsoft.com/office/drawing/2014/main" id="{34352D96-DF15-8E5E-F95D-12F952799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1628800"/>
            <a:ext cx="6707679" cy="10801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1" name="Content Placeholder 2">
            <a:extLst>
              <a:ext uri="{FF2B5EF4-FFF2-40B4-BE49-F238E27FC236}">
                <a16:creationId xmlns:a16="http://schemas.microsoft.com/office/drawing/2014/main" id="{86A71CC3-65D1-A737-0BD6-AF9E0DD9F53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54038" y="3067997"/>
            <a:ext cx="5314076" cy="3169291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4" name="Text Placeholder 143">
            <a:extLst>
              <a:ext uri="{FF2B5EF4-FFF2-40B4-BE49-F238E27FC236}">
                <a16:creationId xmlns:a16="http://schemas.microsoft.com/office/drawing/2014/main" id="{510F25E8-1438-42EB-CE08-E53079A70A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60934" y="1340101"/>
            <a:ext cx="4431067" cy="5517900"/>
          </a:xfrm>
          <a:custGeom>
            <a:avLst/>
            <a:gdLst>
              <a:gd name="connsiteX0" fmla="*/ 157026 w 4431067"/>
              <a:gd name="connsiteY0" fmla="*/ 43 h 5517900"/>
              <a:gd name="connsiteX1" fmla="*/ 357885 w 4431067"/>
              <a:gd name="connsiteY1" fmla="*/ 108172 h 5517900"/>
              <a:gd name="connsiteX2" fmla="*/ 4431067 w 4431067"/>
              <a:gd name="connsiteY2" fmla="*/ 4021958 h 5517900"/>
              <a:gd name="connsiteX3" fmla="*/ 4431067 w 4431067"/>
              <a:gd name="connsiteY3" fmla="*/ 5517900 h 5517900"/>
              <a:gd name="connsiteX4" fmla="*/ 2473557 w 4431067"/>
              <a:gd name="connsiteY4" fmla="*/ 5517900 h 5517900"/>
              <a:gd name="connsiteX5" fmla="*/ 371115 w 4431067"/>
              <a:gd name="connsiteY5" fmla="*/ 3492284 h 5517900"/>
              <a:gd name="connsiteX6" fmla="*/ 9506 w 4431067"/>
              <a:gd name="connsiteY6" fmla="*/ 2646941 h 5517900"/>
              <a:gd name="connsiteX7" fmla="*/ 5 w 4431067"/>
              <a:gd name="connsiteY7" fmla="*/ 261505 h 5517900"/>
              <a:gd name="connsiteX8" fmla="*/ 157026 w 4431067"/>
              <a:gd name="connsiteY8" fmla="*/ 43 h 551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31067" h="5517900">
                <a:moveTo>
                  <a:pt x="157026" y="43"/>
                </a:moveTo>
                <a:cubicBezTo>
                  <a:pt x="214236" y="1430"/>
                  <a:pt x="283342" y="36555"/>
                  <a:pt x="357885" y="108172"/>
                </a:cubicBezTo>
                <a:lnTo>
                  <a:pt x="4431067" y="4021958"/>
                </a:lnTo>
                <a:lnTo>
                  <a:pt x="4431067" y="5517900"/>
                </a:lnTo>
                <a:lnTo>
                  <a:pt x="2473557" y="5517900"/>
                </a:lnTo>
                <a:lnTo>
                  <a:pt x="371115" y="3492284"/>
                </a:lnTo>
                <a:cubicBezTo>
                  <a:pt x="172670" y="3300968"/>
                  <a:pt x="9506" y="2922730"/>
                  <a:pt x="9506" y="2646941"/>
                </a:cubicBezTo>
                <a:lnTo>
                  <a:pt x="5" y="261505"/>
                </a:lnTo>
                <a:cubicBezTo>
                  <a:pt x="-632" y="89137"/>
                  <a:pt x="61675" y="-2268"/>
                  <a:pt x="157026" y="43"/>
                </a:cubicBezTo>
                <a:close/>
              </a:path>
            </a:pathLst>
          </a:custGeom>
          <a:solidFill>
            <a:srgbClr val="750D68">
              <a:alpha val="1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750D68">
                    <a:alpha val="0"/>
                  </a:srgb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64607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DD6310-32C9-D02A-F75A-8202E2F8AA1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87286" y="0"/>
            <a:ext cx="8704714" cy="6858000"/>
          </a:xfrm>
          <a:custGeom>
            <a:avLst/>
            <a:gdLst>
              <a:gd name="connsiteX0" fmla="*/ 2756259 w 8704714"/>
              <a:gd name="connsiteY0" fmla="*/ 0 h 6841154"/>
              <a:gd name="connsiteX1" fmla="*/ 8704714 w 8704714"/>
              <a:gd name="connsiteY1" fmla="*/ 0 h 6841154"/>
              <a:gd name="connsiteX2" fmla="*/ 8704714 w 8704714"/>
              <a:gd name="connsiteY2" fmla="*/ 2314108 h 6841154"/>
              <a:gd name="connsiteX3" fmla="*/ 3993297 w 8704714"/>
              <a:gd name="connsiteY3" fmla="*/ 6841154 h 6841154"/>
              <a:gd name="connsiteX4" fmla="*/ 0 w 8704714"/>
              <a:gd name="connsiteY4" fmla="*/ 6841154 h 6841154"/>
              <a:gd name="connsiteX5" fmla="*/ 12006 w 8704714"/>
              <a:gd name="connsiteY5" fmla="*/ 3826853 h 6841154"/>
              <a:gd name="connsiteX6" fmla="*/ 872739 w 8704714"/>
              <a:gd name="connsiteY6" fmla="*/ 1814693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4714" h="6841154">
                <a:moveTo>
                  <a:pt x="2756259" y="0"/>
                </a:moveTo>
                <a:lnTo>
                  <a:pt x="8704714" y="0"/>
                </a:lnTo>
                <a:lnTo>
                  <a:pt x="8704714" y="2314108"/>
                </a:lnTo>
                <a:lnTo>
                  <a:pt x="3993297" y="6841154"/>
                </a:lnTo>
                <a:lnTo>
                  <a:pt x="0" y="6841154"/>
                </a:lnTo>
                <a:lnTo>
                  <a:pt x="12006" y="3826853"/>
                </a:lnTo>
                <a:cubicBezTo>
                  <a:pt x="12006" y="3170397"/>
                  <a:pt x="400384" y="2270082"/>
                  <a:pt x="872739" y="181469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8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2B89C08-3145-4E61-F74B-4EC92B6D5D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99802"/>
            <a:ext cx="4700424" cy="6458199"/>
          </a:xfrm>
          <a:custGeom>
            <a:avLst/>
            <a:gdLst>
              <a:gd name="connsiteX0" fmla="*/ 4516707 w 4700424"/>
              <a:gd name="connsiteY0" fmla="*/ 55 h 6458199"/>
              <a:gd name="connsiteX1" fmla="*/ 4700424 w 4700424"/>
              <a:gd name="connsiteY1" fmla="*/ 302944 h 6458199"/>
              <a:gd name="connsiteX2" fmla="*/ 4700424 w 4700424"/>
              <a:gd name="connsiteY2" fmla="*/ 3068743 h 6458199"/>
              <a:gd name="connsiteX3" fmla="*/ 4283117 w 4700424"/>
              <a:gd name="connsiteY3" fmla="*/ 4048499 h 6458199"/>
              <a:gd name="connsiteX4" fmla="*/ 1775277 w 4700424"/>
              <a:gd name="connsiteY4" fmla="*/ 6458199 h 6458199"/>
              <a:gd name="connsiteX5" fmla="*/ 0 w 4700424"/>
              <a:gd name="connsiteY5" fmla="*/ 6458199 h 6458199"/>
              <a:gd name="connsiteX6" fmla="*/ 0 w 4700424"/>
              <a:gd name="connsiteY6" fmla="*/ 4252532 h 6458199"/>
              <a:gd name="connsiteX7" fmla="*/ 4283508 w 4700424"/>
              <a:gd name="connsiteY7" fmla="*/ 125551 h 6458199"/>
              <a:gd name="connsiteX8" fmla="*/ 4516707 w 4700424"/>
              <a:gd name="connsiteY8" fmla="*/ 55 h 6458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700424" h="6458199">
                <a:moveTo>
                  <a:pt x="4516707" y="55"/>
                </a:moveTo>
                <a:cubicBezTo>
                  <a:pt x="4627597" y="-2741"/>
                  <a:pt x="4700424" y="103085"/>
                  <a:pt x="4700424" y="302944"/>
                </a:cubicBezTo>
                <a:lnTo>
                  <a:pt x="4700424" y="3068743"/>
                </a:lnTo>
                <a:cubicBezTo>
                  <a:pt x="4700424" y="3388516"/>
                  <a:pt x="4513595" y="3827058"/>
                  <a:pt x="4283117" y="4048499"/>
                </a:cubicBezTo>
                <a:lnTo>
                  <a:pt x="1775277" y="6458199"/>
                </a:lnTo>
                <a:lnTo>
                  <a:pt x="0" y="6458199"/>
                </a:lnTo>
                <a:lnTo>
                  <a:pt x="0" y="4252532"/>
                </a:lnTo>
                <a:lnTo>
                  <a:pt x="4283508" y="125551"/>
                </a:lnTo>
                <a:cubicBezTo>
                  <a:pt x="4369937" y="42514"/>
                  <a:pt x="4450173" y="1733"/>
                  <a:pt x="4516707" y="5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8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9" name="Text Placeholder 118">
            <a:extLst>
              <a:ext uri="{FF2B5EF4-FFF2-40B4-BE49-F238E27FC236}">
                <a16:creationId xmlns:a16="http://schemas.microsoft.com/office/drawing/2014/main" id="{3498E6CF-EFC3-5EDD-E98E-8BBCE25C4E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59187" y="1992797"/>
            <a:ext cx="1885144" cy="2856036"/>
          </a:xfrm>
          <a:custGeom>
            <a:avLst/>
            <a:gdLst>
              <a:gd name="connsiteX0" fmla="*/ 1828265 w 1885144"/>
              <a:gd name="connsiteY0" fmla="*/ 17 h 2856036"/>
              <a:gd name="connsiteX1" fmla="*/ 1885144 w 1885144"/>
              <a:gd name="connsiteY1" fmla="*/ 93791 h 2856036"/>
              <a:gd name="connsiteX2" fmla="*/ 1885144 w 1885144"/>
              <a:gd name="connsiteY2" fmla="*/ 950086 h 2856036"/>
              <a:gd name="connsiteX3" fmla="*/ 1755945 w 1885144"/>
              <a:gd name="connsiteY3" fmla="*/ 1253419 h 2856036"/>
              <a:gd name="connsiteX4" fmla="*/ 128470 w 1885144"/>
              <a:gd name="connsiteY4" fmla="*/ 2817207 h 2856036"/>
              <a:gd name="connsiteX5" fmla="*/ 2 w 1885144"/>
              <a:gd name="connsiteY5" fmla="*/ 2762165 h 2856036"/>
              <a:gd name="connsiteX6" fmla="*/ 3413 w 1885144"/>
              <a:gd name="connsiteY6" fmla="*/ 1905868 h 2856036"/>
              <a:gd name="connsiteX7" fmla="*/ 133219 w 1885144"/>
              <a:gd name="connsiteY7" fmla="*/ 1602417 h 2856036"/>
              <a:gd name="connsiteX8" fmla="*/ 1756066 w 1885144"/>
              <a:gd name="connsiteY8" fmla="*/ 38871 h 2856036"/>
              <a:gd name="connsiteX9" fmla="*/ 1828265 w 1885144"/>
              <a:gd name="connsiteY9" fmla="*/ 17 h 2856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85144" h="2856036">
                <a:moveTo>
                  <a:pt x="1828265" y="17"/>
                </a:moveTo>
                <a:cubicBezTo>
                  <a:pt x="1862597" y="-849"/>
                  <a:pt x="1885144" y="31915"/>
                  <a:pt x="1885144" y="93791"/>
                </a:cubicBezTo>
                <a:lnTo>
                  <a:pt x="1885144" y="950086"/>
                </a:lnTo>
                <a:cubicBezTo>
                  <a:pt x="1885144" y="1049088"/>
                  <a:pt x="1827302" y="1184861"/>
                  <a:pt x="1755945" y="1253419"/>
                </a:cubicBezTo>
                <a:lnTo>
                  <a:pt x="128470" y="2817207"/>
                </a:lnTo>
                <a:cubicBezTo>
                  <a:pt x="57113" y="2885762"/>
                  <a:pt x="-364" y="2861164"/>
                  <a:pt x="2" y="2762165"/>
                </a:cubicBezTo>
                <a:lnTo>
                  <a:pt x="3413" y="1905868"/>
                </a:lnTo>
                <a:cubicBezTo>
                  <a:pt x="3413" y="1806869"/>
                  <a:pt x="61983" y="1671093"/>
                  <a:pt x="133219" y="1602417"/>
                </a:cubicBezTo>
                <a:lnTo>
                  <a:pt x="1756066" y="38871"/>
                </a:lnTo>
                <a:cubicBezTo>
                  <a:pt x="1782825" y="13162"/>
                  <a:pt x="1807666" y="536"/>
                  <a:pt x="1828265" y="17"/>
                </a:cubicBezTo>
                <a:close/>
              </a:path>
            </a:pathLst>
          </a:custGeom>
          <a:solidFill>
            <a:srgbClr val="F07E26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  <a:lvl2pPr algn="ctr">
              <a:defRPr>
                <a:solidFill>
                  <a:srgbClr val="F07E26"/>
                </a:solidFill>
              </a:defRPr>
            </a:lvl2pPr>
            <a:lvl3pPr algn="ctr">
              <a:defRPr>
                <a:solidFill>
                  <a:srgbClr val="F07E26"/>
                </a:solidFill>
              </a:defRPr>
            </a:lvl3pPr>
            <a:lvl4pPr algn="ctr">
              <a:defRPr>
                <a:solidFill>
                  <a:srgbClr val="F07E26"/>
                </a:solidFill>
              </a:defRPr>
            </a:lvl4pPr>
            <a:lvl5pPr algn="ctr">
              <a:defRPr>
                <a:solidFill>
                  <a:srgbClr val="F07E26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22" name="Text Placeholder 121">
            <a:extLst>
              <a:ext uri="{FF2B5EF4-FFF2-40B4-BE49-F238E27FC236}">
                <a16:creationId xmlns:a16="http://schemas.microsoft.com/office/drawing/2014/main" id="{1699D606-9738-C9EC-FC65-6F6AD95EE2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04620" y="1269298"/>
            <a:ext cx="4260152" cy="5588702"/>
          </a:xfrm>
          <a:custGeom>
            <a:avLst/>
            <a:gdLst>
              <a:gd name="connsiteX0" fmla="*/ 128617 w 4260152"/>
              <a:gd name="connsiteY0" fmla="*/ 38 h 5588702"/>
              <a:gd name="connsiteX1" fmla="*/ 291876 w 4260152"/>
              <a:gd name="connsiteY1" fmla="*/ 87896 h 5588702"/>
              <a:gd name="connsiteX2" fmla="*/ 3961534 w 4260152"/>
              <a:gd name="connsiteY2" fmla="*/ 3623459 h 5588702"/>
              <a:gd name="connsiteX3" fmla="*/ 4255058 w 4260152"/>
              <a:gd name="connsiteY3" fmla="*/ 4309638 h 5588702"/>
              <a:gd name="connsiteX4" fmla="*/ 4260152 w 4260152"/>
              <a:gd name="connsiteY4" fmla="*/ 5588702 h 5588702"/>
              <a:gd name="connsiteX5" fmla="*/ 3158741 w 4260152"/>
              <a:gd name="connsiteY5" fmla="*/ 5588702 h 5588702"/>
              <a:gd name="connsiteX6" fmla="*/ 292149 w 4260152"/>
              <a:gd name="connsiteY6" fmla="*/ 2834289 h 5588702"/>
              <a:gd name="connsiteX7" fmla="*/ 0 w 4260152"/>
              <a:gd name="connsiteY7" fmla="*/ 2148378 h 5588702"/>
              <a:gd name="connsiteX8" fmla="*/ 0 w 4260152"/>
              <a:gd name="connsiteY8" fmla="*/ 212086 h 5588702"/>
              <a:gd name="connsiteX9" fmla="*/ 128617 w 4260152"/>
              <a:gd name="connsiteY9" fmla="*/ 38 h 5588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60152" h="5588702">
                <a:moveTo>
                  <a:pt x="128617" y="38"/>
                </a:moveTo>
                <a:cubicBezTo>
                  <a:pt x="175196" y="1213"/>
                  <a:pt x="231368" y="29763"/>
                  <a:pt x="291876" y="87896"/>
                </a:cubicBezTo>
                <a:lnTo>
                  <a:pt x="3961534" y="3623459"/>
                </a:lnTo>
                <a:cubicBezTo>
                  <a:pt x="4122615" y="3778754"/>
                  <a:pt x="4255058" y="4085775"/>
                  <a:pt x="4255058" y="4309638"/>
                </a:cubicBezTo>
                <a:lnTo>
                  <a:pt x="4260152" y="5588702"/>
                </a:lnTo>
                <a:lnTo>
                  <a:pt x="3158741" y="5588702"/>
                </a:lnTo>
                <a:lnTo>
                  <a:pt x="292149" y="2834289"/>
                </a:lnTo>
                <a:cubicBezTo>
                  <a:pt x="130795" y="2679262"/>
                  <a:pt x="0" y="2372246"/>
                  <a:pt x="0" y="2148378"/>
                </a:cubicBezTo>
                <a:lnTo>
                  <a:pt x="0" y="212086"/>
                </a:lnTo>
                <a:cubicBezTo>
                  <a:pt x="0" y="72168"/>
                  <a:pt x="50985" y="-1919"/>
                  <a:pt x="128617" y="38"/>
                </a:cubicBezTo>
                <a:close/>
              </a:path>
            </a:pathLst>
          </a:custGeom>
          <a:solidFill>
            <a:srgbClr val="27257A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27257A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7B0E17D5-868C-E89F-DA74-17A32A61D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9" y="2636913"/>
            <a:ext cx="10944224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nter titl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310332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3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2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2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25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4" grpId="0" animBg="1"/>
      <p:bldP spid="119" grpId="0" build="p" animBg="1">
        <p:tmplLst>
          <p:tmpl>
            <p:tnLst>
              <p:par>
                <p:cTn presetID="2" presetClass="entr" presetSubtype="3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3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2" grpId="0" uiExpand="1" build="p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4" decel="100000" fill="hold" nodeType="withEffect" nodePh="1">
                  <p:stCondLst>
                    <p:cond delay="7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" grpId="0" build="p">
        <p:tmplLst>
          <p:tmpl lvl="2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Text Placeholder 141">
            <a:extLst>
              <a:ext uri="{FF2B5EF4-FFF2-40B4-BE49-F238E27FC236}">
                <a16:creationId xmlns:a16="http://schemas.microsoft.com/office/drawing/2014/main" id="{BF2379A6-416F-A243-1DD7-9276A2B5D9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66262" y="0"/>
            <a:ext cx="5725739" cy="6858000"/>
          </a:xfrm>
          <a:custGeom>
            <a:avLst/>
            <a:gdLst>
              <a:gd name="connsiteX0" fmla="*/ 5117570 w 5725739"/>
              <a:gd name="connsiteY0" fmla="*/ 0 h 6858000"/>
              <a:gd name="connsiteX1" fmla="*/ 5725739 w 5725739"/>
              <a:gd name="connsiteY1" fmla="*/ 0 h 6858000"/>
              <a:gd name="connsiteX2" fmla="*/ 5725739 w 5725739"/>
              <a:gd name="connsiteY2" fmla="*/ 3401607 h 6858000"/>
              <a:gd name="connsiteX3" fmla="*/ 2128578 w 5725739"/>
              <a:gd name="connsiteY3" fmla="*/ 6858000 h 6858000"/>
              <a:gd name="connsiteX4" fmla="*/ 0 w 5725739"/>
              <a:gd name="connsiteY4" fmla="*/ 6858000 h 6858000"/>
              <a:gd name="connsiteX5" fmla="*/ 5365 w 5725739"/>
              <a:gd name="connsiteY5" fmla="*/ 5511145 h 6858000"/>
              <a:gd name="connsiteX6" fmla="*/ 431589 w 5725739"/>
              <a:gd name="connsiteY6" fmla="*/ 451474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25739" h="6858000">
                <a:moveTo>
                  <a:pt x="5117570" y="0"/>
                </a:moveTo>
                <a:lnTo>
                  <a:pt x="5725739" y="0"/>
                </a:lnTo>
                <a:lnTo>
                  <a:pt x="5725739" y="3401607"/>
                </a:lnTo>
                <a:lnTo>
                  <a:pt x="2128578" y="6858000"/>
                </a:lnTo>
                <a:lnTo>
                  <a:pt x="0" y="6858000"/>
                </a:lnTo>
                <a:lnTo>
                  <a:pt x="5365" y="5511145"/>
                </a:lnTo>
                <a:cubicBezTo>
                  <a:pt x="5365" y="5186076"/>
                  <a:pt x="197685" y="4740251"/>
                  <a:pt x="431589" y="4514748"/>
                </a:cubicBezTo>
                <a:close/>
              </a:path>
            </a:pathLst>
          </a:custGeom>
          <a:solidFill>
            <a:srgbClr val="38B6AB">
              <a:alpha val="2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 b="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5" name="Text Placeholder 144">
            <a:extLst>
              <a:ext uri="{FF2B5EF4-FFF2-40B4-BE49-F238E27FC236}">
                <a16:creationId xmlns:a16="http://schemas.microsoft.com/office/drawing/2014/main" id="{47136838-D8CD-1DE4-55C8-249715F1441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550874" y="1"/>
            <a:ext cx="3878381" cy="3539155"/>
          </a:xfrm>
          <a:custGeom>
            <a:avLst/>
            <a:gdLst>
              <a:gd name="connsiteX0" fmla="*/ 0 w 3878381"/>
              <a:gd name="connsiteY0" fmla="*/ 0 h 3539155"/>
              <a:gd name="connsiteX1" fmla="*/ 2792543 w 3878381"/>
              <a:gd name="connsiteY1" fmla="*/ 0 h 3539155"/>
              <a:gd name="connsiteX2" fmla="*/ 3583241 w 3878381"/>
              <a:gd name="connsiteY2" fmla="*/ 761805 h 3539155"/>
              <a:gd name="connsiteX3" fmla="*/ 3870822 w 3878381"/>
              <a:gd name="connsiteY3" fmla="*/ 1434091 h 3539155"/>
              <a:gd name="connsiteX4" fmla="*/ 3878378 w 3878381"/>
              <a:gd name="connsiteY4" fmla="*/ 3331185 h 3539155"/>
              <a:gd name="connsiteX5" fmla="*/ 3593763 w 3878381"/>
              <a:gd name="connsiteY5" fmla="*/ 3453128 h 3539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8381" h="3539155">
                <a:moveTo>
                  <a:pt x="0" y="0"/>
                </a:moveTo>
                <a:lnTo>
                  <a:pt x="2792543" y="0"/>
                </a:lnTo>
                <a:lnTo>
                  <a:pt x="3583241" y="761805"/>
                </a:lnTo>
                <a:cubicBezTo>
                  <a:pt x="3741061" y="913955"/>
                  <a:pt x="3870822" y="1214761"/>
                  <a:pt x="3870822" y="1434091"/>
                </a:cubicBezTo>
                <a:lnTo>
                  <a:pt x="3878378" y="3331185"/>
                </a:lnTo>
                <a:cubicBezTo>
                  <a:pt x="3879188" y="3550515"/>
                  <a:pt x="3751850" y="3605011"/>
                  <a:pt x="3593763" y="3453128"/>
                </a:cubicBezTo>
                <a:close/>
              </a:path>
            </a:pathLst>
          </a:custGeom>
          <a:solidFill>
            <a:srgbClr val="750D68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750D68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E52AA2E-72C8-26E5-69FC-B43BCA87D9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397584" y="2"/>
            <a:ext cx="2794416" cy="3055719"/>
          </a:xfrm>
          <a:custGeom>
            <a:avLst/>
            <a:gdLst>
              <a:gd name="connsiteX0" fmla="*/ 1289861 w 2794416"/>
              <a:gd name="connsiteY0" fmla="*/ 0 h 3055719"/>
              <a:gd name="connsiteX1" fmla="*/ 2794416 w 2794416"/>
              <a:gd name="connsiteY1" fmla="*/ 0 h 3055719"/>
              <a:gd name="connsiteX2" fmla="*/ 2794416 w 2794416"/>
              <a:gd name="connsiteY2" fmla="*/ 506981 h 3055719"/>
              <a:gd name="connsiteX3" fmla="*/ 206986 w 2794416"/>
              <a:gd name="connsiteY3" fmla="*/ 2993158 h 3055719"/>
              <a:gd name="connsiteX4" fmla="*/ 3 w 2794416"/>
              <a:gd name="connsiteY4" fmla="*/ 2904476 h 3055719"/>
              <a:gd name="connsiteX5" fmla="*/ 5498 w 2794416"/>
              <a:gd name="connsiteY5" fmla="*/ 1524843 h 3055719"/>
              <a:gd name="connsiteX6" fmla="*/ 214637 w 2794416"/>
              <a:gd name="connsiteY6" fmla="*/ 1035934 h 305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94416" h="3055719">
                <a:moveTo>
                  <a:pt x="1289861" y="0"/>
                </a:moveTo>
                <a:lnTo>
                  <a:pt x="2794416" y="0"/>
                </a:lnTo>
                <a:lnTo>
                  <a:pt x="2794416" y="506981"/>
                </a:lnTo>
                <a:lnTo>
                  <a:pt x="206986" y="2993158"/>
                </a:lnTo>
                <a:cubicBezTo>
                  <a:pt x="92019" y="3103612"/>
                  <a:pt x="-586" y="3063981"/>
                  <a:pt x="3" y="2904476"/>
                </a:cubicBezTo>
                <a:lnTo>
                  <a:pt x="5498" y="1524843"/>
                </a:lnTo>
                <a:cubicBezTo>
                  <a:pt x="5498" y="1365339"/>
                  <a:pt x="99866" y="1146583"/>
                  <a:pt x="214637" y="1035934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64B5F9CE-D3E8-3BD0-08E1-F1E5FC20BF1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95146" y="2837674"/>
            <a:ext cx="2796853" cy="4020327"/>
          </a:xfrm>
          <a:custGeom>
            <a:avLst/>
            <a:gdLst>
              <a:gd name="connsiteX0" fmla="*/ 2796853 w 2796853"/>
              <a:gd name="connsiteY0" fmla="*/ 0 h 4020327"/>
              <a:gd name="connsiteX1" fmla="*/ 2796853 w 2796853"/>
              <a:gd name="connsiteY1" fmla="*/ 2233857 h 4020327"/>
              <a:gd name="connsiteX2" fmla="*/ 937626 w 2796853"/>
              <a:gd name="connsiteY2" fmla="*/ 4020327 h 4020327"/>
              <a:gd name="connsiteX3" fmla="*/ 0 w 2796853"/>
              <a:gd name="connsiteY3" fmla="*/ 4020327 h 4020327"/>
              <a:gd name="connsiteX4" fmla="*/ 3988 w 2796853"/>
              <a:gd name="connsiteY4" fmla="*/ 3019106 h 4020327"/>
              <a:gd name="connsiteX5" fmla="*/ 242877 w 2796853"/>
              <a:gd name="connsiteY5" fmla="*/ 2460649 h 4020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96853" h="4020327">
                <a:moveTo>
                  <a:pt x="2796853" y="0"/>
                </a:moveTo>
                <a:lnTo>
                  <a:pt x="2796853" y="2233857"/>
                </a:lnTo>
                <a:lnTo>
                  <a:pt x="937626" y="4020327"/>
                </a:lnTo>
                <a:lnTo>
                  <a:pt x="0" y="4020327"/>
                </a:lnTo>
                <a:lnTo>
                  <a:pt x="3988" y="3019106"/>
                </a:lnTo>
                <a:cubicBezTo>
                  <a:pt x="3988" y="2836913"/>
                  <a:pt x="111779" y="2587038"/>
                  <a:pt x="242877" y="246064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38" name="Text Placeholder 16">
            <a:extLst>
              <a:ext uri="{FF2B5EF4-FFF2-40B4-BE49-F238E27FC236}">
                <a16:creationId xmlns:a16="http://schemas.microsoft.com/office/drawing/2014/main" id="{C988D38C-4ACE-4EBE-659A-4DABA52F91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5823" y="1764973"/>
            <a:ext cx="6972345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9" name="Title 6">
            <a:extLst>
              <a:ext uri="{FF2B5EF4-FFF2-40B4-BE49-F238E27FC236}">
                <a16:creationId xmlns:a16="http://schemas.microsoft.com/office/drawing/2014/main" id="{81A7BADE-6A14-3A6C-FD8E-B3FC5E42D4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257" y="332657"/>
            <a:ext cx="6971875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23083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Text Placeholder 137">
            <a:extLst>
              <a:ext uri="{FF2B5EF4-FFF2-40B4-BE49-F238E27FC236}">
                <a16:creationId xmlns:a16="http://schemas.microsoft.com/office/drawing/2014/main" id="{AF655483-0C24-4907-8772-5DE2404EA8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2"/>
            <a:ext cx="4950288" cy="6841155"/>
          </a:xfrm>
          <a:custGeom>
            <a:avLst/>
            <a:gdLst>
              <a:gd name="connsiteX0" fmla="*/ 2470295 w 4950288"/>
              <a:gd name="connsiteY0" fmla="*/ 0 h 6841155"/>
              <a:gd name="connsiteX1" fmla="*/ 4950288 w 4950288"/>
              <a:gd name="connsiteY1" fmla="*/ 0 h 6841155"/>
              <a:gd name="connsiteX2" fmla="*/ 4950288 w 4950288"/>
              <a:gd name="connsiteY2" fmla="*/ 2199465 h 6841155"/>
              <a:gd name="connsiteX3" fmla="*/ 4377784 w 4950288"/>
              <a:gd name="connsiteY3" fmla="*/ 3543592 h 6841155"/>
              <a:gd name="connsiteX4" fmla="*/ 945922 w 4950288"/>
              <a:gd name="connsiteY4" fmla="*/ 6841155 h 6841155"/>
              <a:gd name="connsiteX5" fmla="*/ 0 w 4950288"/>
              <a:gd name="connsiteY5" fmla="*/ 6841155 h 6841155"/>
              <a:gd name="connsiteX6" fmla="*/ 0 w 4950288"/>
              <a:gd name="connsiteY6" fmla="*/ 2380026 h 6841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0288" h="6841155">
                <a:moveTo>
                  <a:pt x="2470295" y="0"/>
                </a:moveTo>
                <a:lnTo>
                  <a:pt x="4950288" y="0"/>
                </a:lnTo>
                <a:lnTo>
                  <a:pt x="4950288" y="2199465"/>
                </a:lnTo>
                <a:cubicBezTo>
                  <a:pt x="4950288" y="2638162"/>
                  <a:pt x="4693977" y="3239797"/>
                  <a:pt x="4377784" y="3543592"/>
                </a:cubicBezTo>
                <a:lnTo>
                  <a:pt x="945922" y="6841155"/>
                </a:lnTo>
                <a:lnTo>
                  <a:pt x="0" y="6841155"/>
                </a:lnTo>
                <a:lnTo>
                  <a:pt x="0" y="2380026"/>
                </a:lnTo>
                <a:close/>
              </a:path>
            </a:pathLst>
          </a:custGeom>
          <a:solidFill>
            <a:schemeClr val="accent2">
              <a:alpha val="4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E891FE4E-F382-C0D6-872B-B4A28FB7025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711385"/>
            <a:ext cx="2949628" cy="5539194"/>
          </a:xfrm>
          <a:custGeom>
            <a:avLst/>
            <a:gdLst>
              <a:gd name="connsiteX0" fmla="*/ 2813384 w 2949628"/>
              <a:gd name="connsiteY0" fmla="*/ 41 h 5539194"/>
              <a:gd name="connsiteX1" fmla="*/ 2949628 w 2949628"/>
              <a:gd name="connsiteY1" fmla="*/ 224663 h 5539194"/>
              <a:gd name="connsiteX2" fmla="*/ 2949628 w 2949628"/>
              <a:gd name="connsiteY2" fmla="*/ 2275772 h 5539194"/>
              <a:gd name="connsiteX3" fmla="*/ 2640154 w 2949628"/>
              <a:gd name="connsiteY3" fmla="*/ 3002357 h 5539194"/>
              <a:gd name="connsiteX4" fmla="*/ 0 w 2949628"/>
              <a:gd name="connsiteY4" fmla="*/ 5539194 h 5539194"/>
              <a:gd name="connsiteX5" fmla="*/ 0 w 2949628"/>
              <a:gd name="connsiteY5" fmla="*/ 2637067 h 5539194"/>
              <a:gd name="connsiteX6" fmla="*/ 2640444 w 2949628"/>
              <a:gd name="connsiteY6" fmla="*/ 93109 h 5539194"/>
              <a:gd name="connsiteX7" fmla="*/ 2813384 w 2949628"/>
              <a:gd name="connsiteY7" fmla="*/ 41 h 5539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9628" h="5539194">
                <a:moveTo>
                  <a:pt x="2813384" y="41"/>
                </a:moveTo>
                <a:cubicBezTo>
                  <a:pt x="2895620" y="-2032"/>
                  <a:pt x="2949628" y="76448"/>
                  <a:pt x="2949628" y="224663"/>
                </a:cubicBezTo>
                <a:lnTo>
                  <a:pt x="2949628" y="2275772"/>
                </a:lnTo>
                <a:cubicBezTo>
                  <a:pt x="2949628" y="2512915"/>
                  <a:pt x="2811076" y="2838136"/>
                  <a:pt x="2640154" y="3002357"/>
                </a:cubicBezTo>
                <a:lnTo>
                  <a:pt x="0" y="5539194"/>
                </a:lnTo>
                <a:lnTo>
                  <a:pt x="0" y="2637067"/>
                </a:lnTo>
                <a:lnTo>
                  <a:pt x="2640444" y="93109"/>
                </a:lnTo>
                <a:cubicBezTo>
                  <a:pt x="2704540" y="31529"/>
                  <a:pt x="2764043" y="1286"/>
                  <a:pt x="2813384" y="4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1" name="Text Placeholder 16">
            <a:extLst>
              <a:ext uri="{FF2B5EF4-FFF2-40B4-BE49-F238E27FC236}">
                <a16:creationId xmlns:a16="http://schemas.microsoft.com/office/drawing/2014/main" id="{F59625D9-6BB4-4109-AC45-89E806A187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75720" y="1764973"/>
            <a:ext cx="7992393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2" name="Title 6">
            <a:extLst>
              <a:ext uri="{FF2B5EF4-FFF2-40B4-BE49-F238E27FC236}">
                <a16:creationId xmlns:a16="http://schemas.microsoft.com/office/drawing/2014/main" id="{783F3316-1F89-DBDA-5FEE-D86A5796B7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6259" y="332657"/>
            <a:ext cx="7991854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5" name="Text Placeholder 134">
            <a:extLst>
              <a:ext uri="{FF2B5EF4-FFF2-40B4-BE49-F238E27FC236}">
                <a16:creationId xmlns:a16="http://schemas.microsoft.com/office/drawing/2014/main" id="{315CD7DB-182D-5366-1F14-F32CECBABF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0141" y="3501440"/>
            <a:ext cx="3407492" cy="3356558"/>
          </a:xfrm>
          <a:custGeom>
            <a:avLst/>
            <a:gdLst>
              <a:gd name="connsiteX0" fmla="*/ 103347 w 3407492"/>
              <a:gd name="connsiteY0" fmla="*/ 31 h 3356558"/>
              <a:gd name="connsiteX1" fmla="*/ 234529 w 3407492"/>
              <a:gd name="connsiteY1" fmla="*/ 70627 h 3356558"/>
              <a:gd name="connsiteX2" fmla="*/ 3183188 w 3407492"/>
              <a:gd name="connsiteY2" fmla="*/ 2911537 h 3356558"/>
              <a:gd name="connsiteX3" fmla="*/ 3400391 w 3407492"/>
              <a:gd name="connsiteY3" fmla="*/ 3318409 h 3356558"/>
              <a:gd name="connsiteX4" fmla="*/ 3407492 w 3407492"/>
              <a:gd name="connsiteY4" fmla="*/ 3356558 h 3356558"/>
              <a:gd name="connsiteX5" fmla="*/ 1357837 w 3407492"/>
              <a:gd name="connsiteY5" fmla="*/ 3356558 h 3356558"/>
              <a:gd name="connsiteX6" fmla="*/ 234749 w 3407492"/>
              <a:gd name="connsiteY6" fmla="*/ 2277420 h 3356558"/>
              <a:gd name="connsiteX7" fmla="*/ 0 w 3407492"/>
              <a:gd name="connsiteY7" fmla="*/ 1726274 h 3356558"/>
              <a:gd name="connsiteX8" fmla="*/ 0 w 3407492"/>
              <a:gd name="connsiteY8" fmla="*/ 170416 h 3356558"/>
              <a:gd name="connsiteX9" fmla="*/ 103347 w 3407492"/>
              <a:gd name="connsiteY9" fmla="*/ 31 h 3356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7492" h="3356558">
                <a:moveTo>
                  <a:pt x="103347" y="31"/>
                </a:moveTo>
                <a:cubicBezTo>
                  <a:pt x="140774" y="975"/>
                  <a:pt x="185910" y="23916"/>
                  <a:pt x="234529" y="70627"/>
                </a:cubicBezTo>
                <a:lnTo>
                  <a:pt x="3183188" y="2911537"/>
                </a:lnTo>
                <a:cubicBezTo>
                  <a:pt x="3280262" y="3005125"/>
                  <a:pt x="3364393" y="3167290"/>
                  <a:pt x="3400391" y="3318409"/>
                </a:cubicBezTo>
                <a:lnTo>
                  <a:pt x="3407492" y="3356558"/>
                </a:lnTo>
                <a:lnTo>
                  <a:pt x="1357837" y="3356558"/>
                </a:lnTo>
                <a:lnTo>
                  <a:pt x="234749" y="2277420"/>
                </a:lnTo>
                <a:cubicBezTo>
                  <a:pt x="105098" y="2152852"/>
                  <a:pt x="0" y="1906157"/>
                  <a:pt x="0" y="1726274"/>
                </a:cubicBezTo>
                <a:lnTo>
                  <a:pt x="0" y="170416"/>
                </a:lnTo>
                <a:cubicBezTo>
                  <a:pt x="0" y="57989"/>
                  <a:pt x="40968" y="-1542"/>
                  <a:pt x="103347" y="31"/>
                </a:cubicBezTo>
                <a:close/>
              </a:path>
            </a:pathLst>
          </a:custGeom>
          <a:solidFill>
            <a:srgbClr val="F07E26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1" name="Text Placeholder 140">
            <a:extLst>
              <a:ext uri="{FF2B5EF4-FFF2-40B4-BE49-F238E27FC236}">
                <a16:creationId xmlns:a16="http://schemas.microsoft.com/office/drawing/2014/main" id="{778B168F-4EED-21A2-E736-EB00F72A905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4586" y="1"/>
            <a:ext cx="2780826" cy="2612989"/>
          </a:xfrm>
          <a:custGeom>
            <a:avLst/>
            <a:gdLst>
              <a:gd name="connsiteX0" fmla="*/ 946876 w 2780826"/>
              <a:gd name="connsiteY0" fmla="*/ 0 h 2612989"/>
              <a:gd name="connsiteX1" fmla="*/ 2780826 w 2780826"/>
              <a:gd name="connsiteY1" fmla="*/ 0 h 2612989"/>
              <a:gd name="connsiteX2" fmla="*/ 2729916 w 2780826"/>
              <a:gd name="connsiteY2" fmla="*/ 96513 h 2612989"/>
              <a:gd name="connsiteX3" fmla="*/ 2653907 w 2780826"/>
              <a:gd name="connsiteY3" fmla="*/ 190819 h 2612989"/>
              <a:gd name="connsiteX4" fmla="*/ 194167 w 2780826"/>
              <a:gd name="connsiteY4" fmla="*/ 2554302 h 2612989"/>
              <a:gd name="connsiteX5" fmla="*/ 3 w 2780826"/>
              <a:gd name="connsiteY5" fmla="*/ 2471113 h 2612989"/>
              <a:gd name="connsiteX6" fmla="*/ 5158 w 2780826"/>
              <a:gd name="connsiteY6" fmla="*/ 1176920 h 2612989"/>
              <a:gd name="connsiteX7" fmla="*/ 201345 w 2780826"/>
              <a:gd name="connsiteY7" fmla="*/ 718288 h 2612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80826" h="2612989">
                <a:moveTo>
                  <a:pt x="946876" y="0"/>
                </a:moveTo>
                <a:lnTo>
                  <a:pt x="2780826" y="0"/>
                </a:lnTo>
                <a:lnTo>
                  <a:pt x="2729916" y="96513"/>
                </a:lnTo>
                <a:cubicBezTo>
                  <a:pt x="2706554" y="132660"/>
                  <a:pt x="2680869" y="164914"/>
                  <a:pt x="2653907" y="190819"/>
                </a:cubicBezTo>
                <a:lnTo>
                  <a:pt x="194167" y="2554302"/>
                </a:lnTo>
                <a:cubicBezTo>
                  <a:pt x="86320" y="2657916"/>
                  <a:pt x="-549" y="2620739"/>
                  <a:pt x="3" y="2471113"/>
                </a:cubicBezTo>
                <a:lnTo>
                  <a:pt x="5158" y="1176920"/>
                </a:lnTo>
                <a:cubicBezTo>
                  <a:pt x="5158" y="1027293"/>
                  <a:pt x="93681" y="822085"/>
                  <a:pt x="201345" y="718288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6040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201D88E4-56DF-0AA6-46D1-411796C513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68009" y="997575"/>
            <a:ext cx="6023991" cy="5860425"/>
          </a:xfrm>
          <a:custGeom>
            <a:avLst/>
            <a:gdLst>
              <a:gd name="connsiteX0" fmla="*/ 6023991 w 6023991"/>
              <a:gd name="connsiteY0" fmla="*/ 0 h 5860425"/>
              <a:gd name="connsiteX1" fmla="*/ 6023991 w 6023991"/>
              <a:gd name="connsiteY1" fmla="*/ 5860425 h 5860425"/>
              <a:gd name="connsiteX2" fmla="*/ 0 w 6023991"/>
              <a:gd name="connsiteY2" fmla="*/ 5860425 h 586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3991" h="5860425">
                <a:moveTo>
                  <a:pt x="6023991" y="0"/>
                </a:moveTo>
                <a:lnTo>
                  <a:pt x="6023991" y="5860425"/>
                </a:lnTo>
                <a:lnTo>
                  <a:pt x="0" y="5860425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8" name="Text Placeholder 16">
            <a:extLst>
              <a:ext uri="{FF2B5EF4-FFF2-40B4-BE49-F238E27FC236}">
                <a16:creationId xmlns:a16="http://schemas.microsoft.com/office/drawing/2014/main" id="{24696413-086A-CF84-AD7F-61BE215180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5823" y="1764973"/>
            <a:ext cx="6972345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9" name="Title 6">
            <a:extLst>
              <a:ext uri="{FF2B5EF4-FFF2-40B4-BE49-F238E27FC236}">
                <a16:creationId xmlns:a16="http://schemas.microsoft.com/office/drawing/2014/main" id="{901F54B5-3F7C-0C3C-06B5-160E68DC42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257" y="332657"/>
            <a:ext cx="6971875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2" name="Text Placeholder 141">
            <a:extLst>
              <a:ext uri="{FF2B5EF4-FFF2-40B4-BE49-F238E27FC236}">
                <a16:creationId xmlns:a16="http://schemas.microsoft.com/office/drawing/2014/main" id="{6B191277-17B0-6D43-372E-9466D2D4431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66579" y="3582252"/>
            <a:ext cx="3439851" cy="3275748"/>
          </a:xfrm>
          <a:custGeom>
            <a:avLst/>
            <a:gdLst>
              <a:gd name="connsiteX0" fmla="*/ 105769 w 3439851"/>
              <a:gd name="connsiteY0" fmla="*/ 32 h 3275748"/>
              <a:gd name="connsiteX1" fmla="*/ 240027 w 3439851"/>
              <a:gd name="connsiteY1" fmla="*/ 72283 h 3275748"/>
              <a:gd name="connsiteX2" fmla="*/ 3257802 w 3439851"/>
              <a:gd name="connsiteY2" fmla="*/ 2979783 h 3275748"/>
              <a:gd name="connsiteX3" fmla="*/ 3428167 w 3439851"/>
              <a:gd name="connsiteY3" fmla="*/ 3240781 h 3275748"/>
              <a:gd name="connsiteX4" fmla="*/ 3439851 w 3439851"/>
              <a:gd name="connsiteY4" fmla="*/ 3275748 h 3275748"/>
              <a:gd name="connsiteX5" fmla="*/ 1223682 w 3439851"/>
              <a:gd name="connsiteY5" fmla="*/ 3275748 h 3275748"/>
              <a:gd name="connsiteX6" fmla="*/ 240252 w 3439851"/>
              <a:gd name="connsiteY6" fmla="*/ 2330803 h 3275748"/>
              <a:gd name="connsiteX7" fmla="*/ 0 w 3439851"/>
              <a:gd name="connsiteY7" fmla="*/ 1766737 h 3275748"/>
              <a:gd name="connsiteX8" fmla="*/ 0 w 3439851"/>
              <a:gd name="connsiteY8" fmla="*/ 174411 h 3275748"/>
              <a:gd name="connsiteX9" fmla="*/ 105769 w 3439851"/>
              <a:gd name="connsiteY9" fmla="*/ 32 h 327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39851" h="3275748">
                <a:moveTo>
                  <a:pt x="105769" y="32"/>
                </a:moveTo>
                <a:cubicBezTo>
                  <a:pt x="144074" y="998"/>
                  <a:pt x="190268" y="24477"/>
                  <a:pt x="240027" y="72283"/>
                </a:cubicBezTo>
                <a:lnTo>
                  <a:pt x="3257802" y="2979783"/>
                </a:lnTo>
                <a:cubicBezTo>
                  <a:pt x="3324035" y="3043637"/>
                  <a:pt x="3384380" y="3138685"/>
                  <a:pt x="3428167" y="3240781"/>
                </a:cubicBezTo>
                <a:lnTo>
                  <a:pt x="3439851" y="3275748"/>
                </a:lnTo>
                <a:lnTo>
                  <a:pt x="1223682" y="3275748"/>
                </a:lnTo>
                <a:lnTo>
                  <a:pt x="240252" y="2330803"/>
                </a:lnTo>
                <a:cubicBezTo>
                  <a:pt x="107561" y="2203315"/>
                  <a:pt x="0" y="1950837"/>
                  <a:pt x="0" y="1766737"/>
                </a:cubicBezTo>
                <a:lnTo>
                  <a:pt x="0" y="174411"/>
                </a:lnTo>
                <a:cubicBezTo>
                  <a:pt x="0" y="59349"/>
                  <a:pt x="41928" y="-1578"/>
                  <a:pt x="105769" y="32"/>
                </a:cubicBezTo>
                <a:close/>
              </a:path>
            </a:pathLst>
          </a:custGeom>
          <a:solidFill>
            <a:srgbClr val="27257A">
              <a:alpha val="40000"/>
            </a:srgb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27257A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08E03413-6338-5E7A-B5D1-13E6D8643C3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49430" y="3824580"/>
            <a:ext cx="3306404" cy="3033420"/>
          </a:xfrm>
          <a:custGeom>
            <a:avLst/>
            <a:gdLst>
              <a:gd name="connsiteX0" fmla="*/ 3200634 w 3306404"/>
              <a:gd name="connsiteY0" fmla="*/ 32 h 3033420"/>
              <a:gd name="connsiteX1" fmla="*/ 3306404 w 3306404"/>
              <a:gd name="connsiteY1" fmla="*/ 174411 h 3033420"/>
              <a:gd name="connsiteX2" fmla="*/ 3306404 w 3306404"/>
              <a:gd name="connsiteY2" fmla="*/ 1766737 h 3033420"/>
              <a:gd name="connsiteX3" fmla="*/ 3066152 w 3306404"/>
              <a:gd name="connsiteY3" fmla="*/ 2330803 h 3033420"/>
              <a:gd name="connsiteX4" fmla="*/ 2334919 w 3306404"/>
              <a:gd name="connsiteY4" fmla="*/ 3033420 h 3033420"/>
              <a:gd name="connsiteX5" fmla="*/ 0 w 3306404"/>
              <a:gd name="connsiteY5" fmla="*/ 3033420 h 3033420"/>
              <a:gd name="connsiteX6" fmla="*/ 198 w 3306404"/>
              <a:gd name="connsiteY6" fmla="*/ 3033145 h 3033420"/>
              <a:gd name="connsiteX7" fmla="*/ 48602 w 3306404"/>
              <a:gd name="connsiteY7" fmla="*/ 2979783 h 3033420"/>
              <a:gd name="connsiteX8" fmla="*/ 3066377 w 3306404"/>
              <a:gd name="connsiteY8" fmla="*/ 72283 h 3033420"/>
              <a:gd name="connsiteX9" fmla="*/ 3200634 w 3306404"/>
              <a:gd name="connsiteY9" fmla="*/ 32 h 3033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06404" h="3033420">
                <a:moveTo>
                  <a:pt x="3200634" y="32"/>
                </a:moveTo>
                <a:cubicBezTo>
                  <a:pt x="3264476" y="-1578"/>
                  <a:pt x="3306404" y="59349"/>
                  <a:pt x="3306404" y="174411"/>
                </a:cubicBezTo>
                <a:lnTo>
                  <a:pt x="3306404" y="1766737"/>
                </a:lnTo>
                <a:cubicBezTo>
                  <a:pt x="3306404" y="1950837"/>
                  <a:pt x="3198843" y="2203315"/>
                  <a:pt x="3066152" y="2330803"/>
                </a:cubicBezTo>
                <a:lnTo>
                  <a:pt x="2334919" y="3033420"/>
                </a:lnTo>
                <a:lnTo>
                  <a:pt x="0" y="3033420"/>
                </a:lnTo>
                <a:lnTo>
                  <a:pt x="198" y="3033145"/>
                </a:lnTo>
                <a:cubicBezTo>
                  <a:pt x="15854" y="3013660"/>
                  <a:pt x="32044" y="2995747"/>
                  <a:pt x="48602" y="2979783"/>
                </a:cubicBezTo>
                <a:lnTo>
                  <a:pt x="3066377" y="72283"/>
                </a:lnTo>
                <a:cubicBezTo>
                  <a:pt x="3116136" y="24477"/>
                  <a:pt x="3162330" y="998"/>
                  <a:pt x="3200634" y="3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9C89B243-2F97-EFE0-7F5A-0D7B82D559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403639" y="2520239"/>
            <a:ext cx="2788363" cy="4337761"/>
          </a:xfrm>
          <a:custGeom>
            <a:avLst/>
            <a:gdLst>
              <a:gd name="connsiteX0" fmla="*/ 2788363 w 2788363"/>
              <a:gd name="connsiteY0" fmla="*/ 0 h 4337761"/>
              <a:gd name="connsiteX1" fmla="*/ 2788363 w 2788363"/>
              <a:gd name="connsiteY1" fmla="*/ 2257070 h 4337761"/>
              <a:gd name="connsiteX2" fmla="*/ 622932 w 2788363"/>
              <a:gd name="connsiteY2" fmla="*/ 4337761 h 4337761"/>
              <a:gd name="connsiteX3" fmla="*/ 0 w 2788363"/>
              <a:gd name="connsiteY3" fmla="*/ 4337761 h 4337761"/>
              <a:gd name="connsiteX4" fmla="*/ 5277 w 2788363"/>
              <a:gd name="connsiteY4" fmla="*/ 3013111 h 4337761"/>
              <a:gd name="connsiteX5" fmla="*/ 246658 w 2788363"/>
              <a:gd name="connsiteY5" fmla="*/ 2448826 h 4337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88363" h="4337761">
                <a:moveTo>
                  <a:pt x="2788363" y="0"/>
                </a:moveTo>
                <a:lnTo>
                  <a:pt x="2788363" y="2257070"/>
                </a:lnTo>
                <a:lnTo>
                  <a:pt x="622932" y="4337761"/>
                </a:lnTo>
                <a:lnTo>
                  <a:pt x="0" y="4337761"/>
                </a:lnTo>
                <a:lnTo>
                  <a:pt x="5277" y="3013111"/>
                </a:lnTo>
                <a:cubicBezTo>
                  <a:pt x="5277" y="2829016"/>
                  <a:pt x="114192" y="2576534"/>
                  <a:pt x="246658" y="2448826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38381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ext Placeholder 131">
            <a:extLst>
              <a:ext uri="{FF2B5EF4-FFF2-40B4-BE49-F238E27FC236}">
                <a16:creationId xmlns:a16="http://schemas.microsoft.com/office/drawing/2014/main" id="{EFC71865-06BE-A4E3-2B04-E70CE51DB33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2515316"/>
            <a:ext cx="4476959" cy="4342684"/>
          </a:xfrm>
          <a:custGeom>
            <a:avLst/>
            <a:gdLst>
              <a:gd name="connsiteX0" fmla="*/ 0 w 4476959"/>
              <a:gd name="connsiteY0" fmla="*/ 0 h 4342684"/>
              <a:gd name="connsiteX1" fmla="*/ 4265976 w 4476959"/>
              <a:gd name="connsiteY1" fmla="*/ 4110090 h 4342684"/>
              <a:gd name="connsiteX2" fmla="*/ 4476959 w 4476959"/>
              <a:gd name="connsiteY2" fmla="*/ 4342684 h 4342684"/>
              <a:gd name="connsiteX3" fmla="*/ 0 w 4476959"/>
              <a:gd name="connsiteY3" fmla="*/ 4342684 h 43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76959" h="4342684">
                <a:moveTo>
                  <a:pt x="0" y="0"/>
                </a:moveTo>
                <a:lnTo>
                  <a:pt x="4265976" y="4110090"/>
                </a:lnTo>
                <a:lnTo>
                  <a:pt x="4476959" y="4342684"/>
                </a:lnTo>
                <a:lnTo>
                  <a:pt x="0" y="4342684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5" name="Text Placeholder 16">
            <a:extLst>
              <a:ext uri="{FF2B5EF4-FFF2-40B4-BE49-F238E27FC236}">
                <a16:creationId xmlns:a16="http://schemas.microsoft.com/office/drawing/2014/main" id="{A205015B-D9D2-4C2E-8ADD-D765DE1120E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69769" y="1764973"/>
            <a:ext cx="6198344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6" name="Title 6">
            <a:extLst>
              <a:ext uri="{FF2B5EF4-FFF2-40B4-BE49-F238E27FC236}">
                <a16:creationId xmlns:a16="http://schemas.microsoft.com/office/drawing/2014/main" id="{F47342DE-2AF2-7209-DD6B-B5B02D4754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0187" y="332657"/>
            <a:ext cx="619792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0568114B-1607-9400-3EE7-3120123CEDB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1"/>
            <a:ext cx="2863438" cy="6285957"/>
          </a:xfrm>
          <a:custGeom>
            <a:avLst/>
            <a:gdLst>
              <a:gd name="connsiteX0" fmla="*/ 0 w 2863438"/>
              <a:gd name="connsiteY0" fmla="*/ 0 h 6285957"/>
              <a:gd name="connsiteX1" fmla="*/ 834528 w 2863438"/>
              <a:gd name="connsiteY1" fmla="*/ 0 h 6285957"/>
              <a:gd name="connsiteX2" fmla="*/ 2350678 w 2863438"/>
              <a:gd name="connsiteY2" fmla="*/ 1460747 h 6285957"/>
              <a:gd name="connsiteX3" fmla="*/ 2850304 w 2863438"/>
              <a:gd name="connsiteY3" fmla="*/ 2628739 h 6285957"/>
              <a:gd name="connsiteX4" fmla="*/ 2863432 w 2863438"/>
              <a:gd name="connsiteY4" fmla="*/ 5924642 h 6285957"/>
              <a:gd name="connsiteX5" fmla="*/ 2368957 w 2863438"/>
              <a:gd name="connsiteY5" fmla="*/ 6136499 h 6285957"/>
              <a:gd name="connsiteX6" fmla="*/ 0 w 2863438"/>
              <a:gd name="connsiteY6" fmla="*/ 3860246 h 62859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63438" h="6285957">
                <a:moveTo>
                  <a:pt x="0" y="0"/>
                </a:moveTo>
                <a:lnTo>
                  <a:pt x="834528" y="0"/>
                </a:lnTo>
                <a:lnTo>
                  <a:pt x="2350678" y="1460747"/>
                </a:lnTo>
                <a:cubicBezTo>
                  <a:pt x="2624864" y="1725085"/>
                  <a:pt x="2850304" y="2247688"/>
                  <a:pt x="2850304" y="2628739"/>
                </a:cubicBezTo>
                <a:lnTo>
                  <a:pt x="2863432" y="5924642"/>
                </a:lnTo>
                <a:cubicBezTo>
                  <a:pt x="2864839" y="6305693"/>
                  <a:pt x="2643609" y="6400372"/>
                  <a:pt x="2368957" y="6136499"/>
                </a:cubicBezTo>
                <a:lnTo>
                  <a:pt x="0" y="3860246"/>
                </a:lnTo>
                <a:close/>
              </a:path>
            </a:pathLst>
          </a:custGeom>
          <a:solidFill>
            <a:srgbClr val="FFDC00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FDC00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00649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lex Colour ">
    <p:bg>
      <p:bgPr>
        <a:solidFill>
          <a:srgbClr val="00508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17DF1-F875-3053-8A46-A378A33AD5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EE3D58-6377-D571-44D9-7DAF1F32C144}"/>
              </a:ext>
            </a:extLst>
          </p:cNvPr>
          <p:cNvSpPr/>
          <p:nvPr userDrawn="1"/>
        </p:nvSpPr>
        <p:spPr>
          <a:xfrm>
            <a:off x="0" y="3284984"/>
            <a:ext cx="3719736" cy="3573016"/>
          </a:xfrm>
          <a:prstGeom prst="triangle">
            <a:avLst>
              <a:gd name="adj" fmla="val 0"/>
            </a:avLst>
          </a:prstGeom>
          <a:solidFill>
            <a:schemeClr val="accent3"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AC1B317-FFB1-4AF9-B3D7-2FC2CEF09CF1}"/>
              </a:ext>
            </a:extLst>
          </p:cNvPr>
          <p:cNvSpPr/>
          <p:nvPr userDrawn="1"/>
        </p:nvSpPr>
        <p:spPr>
          <a:xfrm>
            <a:off x="7035756" y="0"/>
            <a:ext cx="4634708" cy="4221744"/>
          </a:xfrm>
          <a:custGeom>
            <a:avLst/>
            <a:gdLst>
              <a:gd name="connsiteX0" fmla="*/ 1185027 w 4634708"/>
              <a:gd name="connsiteY0" fmla="*/ 0 h 4221744"/>
              <a:gd name="connsiteX1" fmla="*/ 4634708 w 4634708"/>
              <a:gd name="connsiteY1" fmla="*/ 0 h 4221744"/>
              <a:gd name="connsiteX2" fmla="*/ 351638 w 4634708"/>
              <a:gd name="connsiteY2" fmla="*/ 4115461 h 4221744"/>
              <a:gd name="connsiteX3" fmla="*/ 5 w 4634708"/>
              <a:gd name="connsiteY3" fmla="*/ 3964804 h 4221744"/>
              <a:gd name="connsiteX4" fmla="*/ 9340 w 4634708"/>
              <a:gd name="connsiteY4" fmla="*/ 1621000 h 4221744"/>
              <a:gd name="connsiteX5" fmla="*/ 364638 w 4634708"/>
              <a:gd name="connsiteY5" fmla="*/ 790411 h 422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34708" h="4221744">
                <a:moveTo>
                  <a:pt x="1185027" y="0"/>
                </a:moveTo>
                <a:lnTo>
                  <a:pt x="4634708" y="0"/>
                </a:lnTo>
                <a:lnTo>
                  <a:pt x="351638" y="4115461"/>
                </a:lnTo>
                <a:cubicBezTo>
                  <a:pt x="156326" y="4303107"/>
                  <a:pt x="-996" y="4235779"/>
                  <a:pt x="5" y="3964804"/>
                </a:cubicBezTo>
                <a:lnTo>
                  <a:pt x="9340" y="1621000"/>
                </a:lnTo>
                <a:cubicBezTo>
                  <a:pt x="9340" y="1350025"/>
                  <a:pt x="169657" y="978388"/>
                  <a:pt x="364638" y="790411"/>
                </a:cubicBezTo>
                <a:close/>
              </a:path>
            </a:pathLst>
          </a:custGeom>
          <a:solidFill>
            <a:schemeClr val="accent6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9CCE8B8-D6FD-916E-7AE1-0514DC85C383}"/>
              </a:ext>
            </a:extLst>
          </p:cNvPr>
          <p:cNvSpPr/>
          <p:nvPr userDrawn="1"/>
        </p:nvSpPr>
        <p:spPr>
          <a:xfrm>
            <a:off x="1574997" y="1354583"/>
            <a:ext cx="4809036" cy="5517250"/>
          </a:xfrm>
          <a:custGeom>
            <a:avLst/>
            <a:gdLst>
              <a:gd name="connsiteX0" fmla="*/ 5103820 w 5262813"/>
              <a:gd name="connsiteY0" fmla="*/ 47 h 6037853"/>
              <a:gd name="connsiteX1" fmla="*/ 5262813 w 5262813"/>
              <a:gd name="connsiteY1" fmla="*/ 262175 h 6037853"/>
              <a:gd name="connsiteX2" fmla="*/ 5262813 w 5262813"/>
              <a:gd name="connsiteY2" fmla="*/ 2655765 h 6037853"/>
              <a:gd name="connsiteX3" fmla="*/ 4901666 w 5262813"/>
              <a:gd name="connsiteY3" fmla="*/ 3503669 h 6037853"/>
              <a:gd name="connsiteX4" fmla="*/ 2264273 w 5262813"/>
              <a:gd name="connsiteY4" fmla="*/ 6037853 h 6037853"/>
              <a:gd name="connsiteX5" fmla="*/ 0 w 5262813"/>
              <a:gd name="connsiteY5" fmla="*/ 6037853 h 6037853"/>
              <a:gd name="connsiteX6" fmla="*/ 2829 w 5262813"/>
              <a:gd name="connsiteY6" fmla="*/ 5327454 h 6037853"/>
              <a:gd name="connsiteX7" fmla="*/ 365675 w 5262813"/>
              <a:gd name="connsiteY7" fmla="*/ 4479218 h 6037853"/>
              <a:gd name="connsiteX8" fmla="*/ 4902004 w 5262813"/>
              <a:gd name="connsiteY8" fmla="*/ 108655 h 6037853"/>
              <a:gd name="connsiteX9" fmla="*/ 5103820 w 5262813"/>
              <a:gd name="connsiteY9" fmla="*/ 47 h 6037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62813" h="6037853">
                <a:moveTo>
                  <a:pt x="5103820" y="47"/>
                </a:moveTo>
                <a:cubicBezTo>
                  <a:pt x="5199787" y="-2372"/>
                  <a:pt x="5262813" y="89212"/>
                  <a:pt x="5262813" y="262175"/>
                </a:cubicBezTo>
                <a:lnTo>
                  <a:pt x="5262813" y="2655765"/>
                </a:lnTo>
                <a:cubicBezTo>
                  <a:pt x="5262813" y="2932504"/>
                  <a:pt x="5101127" y="3312029"/>
                  <a:pt x="4901666" y="3503669"/>
                </a:cubicBezTo>
                <a:lnTo>
                  <a:pt x="2264273" y="6037853"/>
                </a:lnTo>
                <a:lnTo>
                  <a:pt x="0" y="6037853"/>
                </a:lnTo>
                <a:lnTo>
                  <a:pt x="2829" y="5327454"/>
                </a:lnTo>
                <a:cubicBezTo>
                  <a:pt x="2829" y="5050722"/>
                  <a:pt x="166552" y="4671190"/>
                  <a:pt x="365675" y="4479218"/>
                </a:cubicBezTo>
                <a:lnTo>
                  <a:pt x="4902004" y="108655"/>
                </a:lnTo>
                <a:cubicBezTo>
                  <a:pt x="4976802" y="36793"/>
                  <a:pt x="5046240" y="1499"/>
                  <a:pt x="5103820" y="47"/>
                </a:cubicBezTo>
                <a:close/>
              </a:path>
            </a:pathLst>
          </a:custGeom>
          <a:solidFill>
            <a:schemeClr val="tx2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64CD0EB-91EF-7CDA-A593-6A48E2E128AA}"/>
              </a:ext>
            </a:extLst>
          </p:cNvPr>
          <p:cNvSpPr/>
          <p:nvPr userDrawn="1"/>
        </p:nvSpPr>
        <p:spPr>
          <a:xfrm>
            <a:off x="2924512" y="117600"/>
            <a:ext cx="7307022" cy="6740401"/>
          </a:xfrm>
          <a:custGeom>
            <a:avLst/>
            <a:gdLst>
              <a:gd name="connsiteX0" fmla="*/ 7075761 w 7307022"/>
              <a:gd name="connsiteY0" fmla="*/ 69 h 6740401"/>
              <a:gd name="connsiteX1" fmla="*/ 7307022 w 7307022"/>
              <a:gd name="connsiteY1" fmla="*/ 381343 h 6740401"/>
              <a:gd name="connsiteX2" fmla="*/ 7307022 w 7307022"/>
              <a:gd name="connsiteY2" fmla="*/ 3862913 h 6740401"/>
              <a:gd name="connsiteX3" fmla="*/ 6781719 w 7307022"/>
              <a:gd name="connsiteY3" fmla="*/ 5096222 h 6740401"/>
              <a:gd name="connsiteX4" fmla="*/ 5070578 w 7307022"/>
              <a:gd name="connsiteY4" fmla="*/ 6740401 h 6740401"/>
              <a:gd name="connsiteX5" fmla="*/ 0 w 7307022"/>
              <a:gd name="connsiteY5" fmla="*/ 6740401 h 6740401"/>
              <a:gd name="connsiteX6" fmla="*/ 78111 w 7307022"/>
              <a:gd name="connsiteY6" fmla="*/ 6631871 h 6740401"/>
              <a:gd name="connsiteX7" fmla="*/ 183945 w 7307022"/>
              <a:gd name="connsiteY7" fmla="*/ 6515197 h 6740401"/>
              <a:gd name="connsiteX8" fmla="*/ 6782211 w 7307022"/>
              <a:gd name="connsiteY8" fmla="*/ 158043 h 6740401"/>
              <a:gd name="connsiteX9" fmla="*/ 7075761 w 7307022"/>
              <a:gd name="connsiteY9" fmla="*/ 69 h 6740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7022" h="6740401">
                <a:moveTo>
                  <a:pt x="7075761" y="69"/>
                </a:moveTo>
                <a:cubicBezTo>
                  <a:pt x="7215348" y="-3451"/>
                  <a:pt x="7307022" y="129763"/>
                  <a:pt x="7307022" y="381343"/>
                </a:cubicBezTo>
                <a:lnTo>
                  <a:pt x="7307022" y="3862913"/>
                </a:lnTo>
                <a:cubicBezTo>
                  <a:pt x="7307022" y="4265441"/>
                  <a:pt x="7071844" y="4817474"/>
                  <a:pt x="6781719" y="5096222"/>
                </a:cubicBezTo>
                <a:lnTo>
                  <a:pt x="5070578" y="6740401"/>
                </a:lnTo>
                <a:lnTo>
                  <a:pt x="0" y="6740401"/>
                </a:lnTo>
                <a:lnTo>
                  <a:pt x="78111" y="6631871"/>
                </a:lnTo>
                <a:cubicBezTo>
                  <a:pt x="112342" y="6589267"/>
                  <a:pt x="147741" y="6550100"/>
                  <a:pt x="183945" y="6515197"/>
                </a:cubicBezTo>
                <a:lnTo>
                  <a:pt x="6782211" y="158043"/>
                </a:lnTo>
                <a:cubicBezTo>
                  <a:pt x="6891008" y="53516"/>
                  <a:pt x="6992009" y="2181"/>
                  <a:pt x="7075761" y="69"/>
                </a:cubicBezTo>
                <a:close/>
              </a:path>
            </a:pathLst>
          </a:custGeom>
          <a:solidFill>
            <a:schemeClr val="accent4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95520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9DC36E-49A5-B0DD-5DDD-F71FF17AB332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84E6BF-A91C-B8AC-303D-2278F72216DC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838203" y="1825627"/>
            <a:ext cx="5181603" cy="435133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244AA72-6DB5-7D30-338A-25EAEF08666E}"/>
              </a:ext>
            </a:extLst>
          </p:cNvPr>
          <p:cNvSpPr txBox="1">
            <a:spLocks noGrp="1"/>
          </p:cNvSpPr>
          <p:nvPr>
            <p:ph idx="2"/>
          </p:nvPr>
        </p:nvSpPr>
        <p:spPr>
          <a:xfrm>
            <a:off x="6172200" y="1825627"/>
            <a:ext cx="5181603" cy="435133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F592FA1-ACFF-16F3-3897-231B53736113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D9D7F025-B91F-42E5-BA83-111FD5083CE6}" type="datetime1">
              <a:rPr lang="fr-FR"/>
              <a:pPr lvl="0"/>
              <a:t>03/04/2024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0228CB-ADE3-1705-73AC-0143B295CC94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A36099-FFEF-251A-DC21-E25531B1DAB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29510DBD-1B85-4CFF-876D-0E911CBC8C1A}" type="slidenum"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6786791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5">
    <p:bg>
      <p:bgPr>
        <a:solidFill>
          <a:srgbClr val="005191">
            <a:alpha val="62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33A99E-B18C-C194-FBD8-725541014CB0}"/>
              </a:ext>
            </a:extLst>
          </p:cNvPr>
          <p:cNvSpPr/>
          <p:nvPr userDrawn="1"/>
        </p:nvSpPr>
        <p:spPr>
          <a:xfrm>
            <a:off x="1559496" y="0"/>
            <a:ext cx="10632504" cy="6858000"/>
          </a:xfrm>
          <a:custGeom>
            <a:avLst/>
            <a:gdLst>
              <a:gd name="connsiteX0" fmla="*/ 7056784 w 10632504"/>
              <a:gd name="connsiteY0" fmla="*/ 0 h 6858000"/>
              <a:gd name="connsiteX1" fmla="*/ 10632504 w 10632504"/>
              <a:gd name="connsiteY1" fmla="*/ 0 h 6858000"/>
              <a:gd name="connsiteX2" fmla="*/ 10632504 w 10632504"/>
              <a:gd name="connsiteY2" fmla="*/ 6857999 h 6858000"/>
              <a:gd name="connsiteX3" fmla="*/ 7110269 w 10632504"/>
              <a:gd name="connsiteY3" fmla="*/ 6857999 h 6858000"/>
              <a:gd name="connsiteX4" fmla="*/ 7110269 w 10632504"/>
              <a:gd name="connsiteY4" fmla="*/ 6858000 h 6858000"/>
              <a:gd name="connsiteX5" fmla="*/ 0 w 10632504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632504" h="6858000">
                <a:moveTo>
                  <a:pt x="7056784" y="0"/>
                </a:moveTo>
                <a:lnTo>
                  <a:pt x="10632504" y="0"/>
                </a:lnTo>
                <a:lnTo>
                  <a:pt x="10632504" y="6857999"/>
                </a:lnTo>
                <a:lnTo>
                  <a:pt x="7110269" y="6857999"/>
                </a:lnTo>
                <a:lnTo>
                  <a:pt x="711026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27257A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FA33CC-AA75-4355-0A4E-6996125098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59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137CAE3D-CA63-D669-E471-86E0A20FA7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3870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007926FA-F693-3EDC-38EE-91D43A83D4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7370656" cy="6858000"/>
          </a:xfrm>
          <a:custGeom>
            <a:avLst/>
            <a:gdLst>
              <a:gd name="connsiteX0" fmla="*/ 5928929 w 7370656"/>
              <a:gd name="connsiteY0" fmla="*/ 0 h 6858000"/>
              <a:gd name="connsiteX1" fmla="*/ 7370656 w 7370656"/>
              <a:gd name="connsiteY1" fmla="*/ 0 h 6858000"/>
              <a:gd name="connsiteX2" fmla="*/ 7370656 w 7370656"/>
              <a:gd name="connsiteY2" fmla="*/ 2905561 h 6858000"/>
              <a:gd name="connsiteX3" fmla="*/ 6834860 w 7370656"/>
              <a:gd name="connsiteY3" fmla="*/ 4163505 h 6858000"/>
              <a:gd name="connsiteX4" fmla="*/ 4030627 w 7370656"/>
              <a:gd name="connsiteY4" fmla="*/ 6858000 h 6858000"/>
              <a:gd name="connsiteX5" fmla="*/ 0 w 7370656"/>
              <a:gd name="connsiteY5" fmla="*/ 6858000 h 6858000"/>
              <a:gd name="connsiteX6" fmla="*/ 0 w 7370656"/>
              <a:gd name="connsiteY6" fmla="*/ 5726910 h 6858000"/>
              <a:gd name="connsiteX7" fmla="*/ 105302 w 7370656"/>
              <a:gd name="connsiteY7" fmla="*/ 561082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70656" h="6858000">
                <a:moveTo>
                  <a:pt x="5928929" y="0"/>
                </a:moveTo>
                <a:lnTo>
                  <a:pt x="7370656" y="0"/>
                </a:lnTo>
                <a:lnTo>
                  <a:pt x="7370656" y="2905561"/>
                </a:lnTo>
                <a:cubicBezTo>
                  <a:pt x="7370656" y="3316129"/>
                  <a:pt x="7130780" y="3879189"/>
                  <a:pt x="6834860" y="4163505"/>
                </a:cubicBezTo>
                <a:lnTo>
                  <a:pt x="4030627" y="6858000"/>
                </a:lnTo>
                <a:lnTo>
                  <a:pt x="0" y="6858000"/>
                </a:lnTo>
                <a:lnTo>
                  <a:pt x="0" y="5726910"/>
                </a:lnTo>
                <a:lnTo>
                  <a:pt x="105302" y="561082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9EADD5B2-CDC8-B9EB-21CC-54B8A6A467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38050" y="1645943"/>
            <a:ext cx="2055374" cy="3678282"/>
          </a:xfrm>
          <a:custGeom>
            <a:avLst/>
            <a:gdLst>
              <a:gd name="connsiteX0" fmla="*/ 1969581 w 2055374"/>
              <a:gd name="connsiteY0" fmla="*/ 26 h 3678282"/>
              <a:gd name="connsiteX1" fmla="*/ 2055374 w 2055374"/>
              <a:gd name="connsiteY1" fmla="*/ 141471 h 3678282"/>
              <a:gd name="connsiteX2" fmla="*/ 2055374 w 2055374"/>
              <a:gd name="connsiteY2" fmla="*/ 1433058 h 3678282"/>
              <a:gd name="connsiteX3" fmla="*/ 1860498 w 2055374"/>
              <a:gd name="connsiteY3" fmla="*/ 1890589 h 3678282"/>
              <a:gd name="connsiteX4" fmla="*/ 0 w 2055374"/>
              <a:gd name="connsiteY4" fmla="*/ 3678282 h 3678282"/>
              <a:gd name="connsiteX5" fmla="*/ 2142 w 2055374"/>
              <a:gd name="connsiteY5" fmla="*/ 3675624 h 3678282"/>
              <a:gd name="connsiteX6" fmla="*/ 151352 w 2055374"/>
              <a:gd name="connsiteY6" fmla="*/ 3220026 h 3678282"/>
              <a:gd name="connsiteX7" fmla="*/ 151352 w 2055374"/>
              <a:gd name="connsiteY7" fmla="*/ 1705498 h 3678282"/>
              <a:gd name="connsiteX8" fmla="*/ 1860680 w 2055374"/>
              <a:gd name="connsiteY8" fmla="*/ 58631 h 3678282"/>
              <a:gd name="connsiteX9" fmla="*/ 1969581 w 2055374"/>
              <a:gd name="connsiteY9" fmla="*/ 26 h 3678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55374" h="3678282">
                <a:moveTo>
                  <a:pt x="1969581" y="26"/>
                </a:moveTo>
                <a:cubicBezTo>
                  <a:pt x="2021365" y="-1279"/>
                  <a:pt x="2055374" y="48140"/>
                  <a:pt x="2055374" y="141471"/>
                </a:cubicBezTo>
                <a:lnTo>
                  <a:pt x="2055374" y="1433058"/>
                </a:lnTo>
                <a:cubicBezTo>
                  <a:pt x="2055374" y="1582387"/>
                  <a:pt x="1968128" y="1787180"/>
                  <a:pt x="1860498" y="1890589"/>
                </a:cubicBezTo>
                <a:lnTo>
                  <a:pt x="0" y="3678282"/>
                </a:lnTo>
                <a:lnTo>
                  <a:pt x="2142" y="3675624"/>
                </a:lnTo>
                <a:cubicBezTo>
                  <a:pt x="89828" y="3539948"/>
                  <a:pt x="151352" y="3360432"/>
                  <a:pt x="151352" y="3220026"/>
                </a:cubicBezTo>
                <a:lnTo>
                  <a:pt x="151352" y="1705498"/>
                </a:lnTo>
                <a:lnTo>
                  <a:pt x="1860680" y="58631"/>
                </a:lnTo>
                <a:cubicBezTo>
                  <a:pt x="1901042" y="19854"/>
                  <a:pt x="1938511" y="810"/>
                  <a:pt x="1969581" y="2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FD3E7CB8-8A21-265D-41A2-D3D9ED5483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37796" y="222434"/>
            <a:ext cx="2368832" cy="3588836"/>
          </a:xfrm>
          <a:custGeom>
            <a:avLst/>
            <a:gdLst>
              <a:gd name="connsiteX0" fmla="*/ 2297359 w 2368832"/>
              <a:gd name="connsiteY0" fmla="*/ 22 h 3588836"/>
              <a:gd name="connsiteX1" fmla="*/ 2368832 w 2368832"/>
              <a:gd name="connsiteY1" fmla="*/ 117857 h 3588836"/>
              <a:gd name="connsiteX2" fmla="*/ 2368832 w 2368832"/>
              <a:gd name="connsiteY2" fmla="*/ 1193858 h 3588836"/>
              <a:gd name="connsiteX3" fmla="*/ 2206483 w 2368832"/>
              <a:gd name="connsiteY3" fmla="*/ 1575021 h 3588836"/>
              <a:gd name="connsiteX4" fmla="*/ 161433 w 2368832"/>
              <a:gd name="connsiteY4" fmla="*/ 3540043 h 3588836"/>
              <a:gd name="connsiteX5" fmla="*/ 3 w 2368832"/>
              <a:gd name="connsiteY5" fmla="*/ 3470879 h 3588836"/>
              <a:gd name="connsiteX6" fmla="*/ 4289 w 2368832"/>
              <a:gd name="connsiteY6" fmla="*/ 2394875 h 3588836"/>
              <a:gd name="connsiteX7" fmla="*/ 167400 w 2368832"/>
              <a:gd name="connsiteY7" fmla="*/ 2013564 h 3588836"/>
              <a:gd name="connsiteX8" fmla="*/ 2206635 w 2368832"/>
              <a:gd name="connsiteY8" fmla="*/ 48845 h 3588836"/>
              <a:gd name="connsiteX9" fmla="*/ 2297359 w 2368832"/>
              <a:gd name="connsiteY9" fmla="*/ 22 h 358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68832" h="3588836">
                <a:moveTo>
                  <a:pt x="2297359" y="22"/>
                </a:moveTo>
                <a:cubicBezTo>
                  <a:pt x="2340499" y="-1066"/>
                  <a:pt x="2368832" y="40105"/>
                  <a:pt x="2368832" y="117857"/>
                </a:cubicBezTo>
                <a:lnTo>
                  <a:pt x="2368832" y="1193858"/>
                </a:lnTo>
                <a:cubicBezTo>
                  <a:pt x="2368832" y="1318262"/>
                  <a:pt x="2296148" y="1488872"/>
                  <a:pt x="2206483" y="1575021"/>
                </a:cubicBezTo>
                <a:lnTo>
                  <a:pt x="161433" y="3540043"/>
                </a:lnTo>
                <a:cubicBezTo>
                  <a:pt x="71768" y="3626189"/>
                  <a:pt x="-456" y="3595279"/>
                  <a:pt x="3" y="3470879"/>
                </a:cubicBezTo>
                <a:lnTo>
                  <a:pt x="4289" y="2394875"/>
                </a:lnTo>
                <a:cubicBezTo>
                  <a:pt x="4289" y="2270474"/>
                  <a:pt x="77887" y="2099861"/>
                  <a:pt x="167400" y="2013564"/>
                </a:cubicBezTo>
                <a:lnTo>
                  <a:pt x="2206635" y="48845"/>
                </a:lnTo>
                <a:cubicBezTo>
                  <a:pt x="2240260" y="16540"/>
                  <a:pt x="2271475" y="675"/>
                  <a:pt x="2297359" y="2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6FBAB1F-A836-3B29-E4DD-7F89297F3B8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8216" y="1160138"/>
            <a:ext cx="3429951" cy="5196454"/>
          </a:xfrm>
          <a:custGeom>
            <a:avLst/>
            <a:gdLst>
              <a:gd name="connsiteX0" fmla="*/ 3326462 w 3429951"/>
              <a:gd name="connsiteY0" fmla="*/ 31 h 5196454"/>
              <a:gd name="connsiteX1" fmla="*/ 3429951 w 3429951"/>
              <a:gd name="connsiteY1" fmla="*/ 170650 h 5196454"/>
              <a:gd name="connsiteX2" fmla="*/ 3429951 w 3429951"/>
              <a:gd name="connsiteY2" fmla="*/ 1728646 h 5196454"/>
              <a:gd name="connsiteX3" fmla="*/ 3194878 w 3429951"/>
              <a:gd name="connsiteY3" fmla="*/ 2280550 h 5196454"/>
              <a:gd name="connsiteX4" fmla="*/ 233746 w 3429951"/>
              <a:gd name="connsiteY4" fmla="*/ 5125804 h 5196454"/>
              <a:gd name="connsiteX5" fmla="*/ 4 w 3429951"/>
              <a:gd name="connsiteY5" fmla="*/ 5025658 h 5196454"/>
              <a:gd name="connsiteX6" fmla="*/ 6209 w 3429951"/>
              <a:gd name="connsiteY6" fmla="*/ 3467657 h 5196454"/>
              <a:gd name="connsiteX7" fmla="*/ 242387 w 3429951"/>
              <a:gd name="connsiteY7" fmla="*/ 2915538 h 5196454"/>
              <a:gd name="connsiteX8" fmla="*/ 3195099 w 3429951"/>
              <a:gd name="connsiteY8" fmla="*/ 70724 h 5196454"/>
              <a:gd name="connsiteX9" fmla="*/ 3326462 w 3429951"/>
              <a:gd name="connsiteY9" fmla="*/ 31 h 5196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29951" h="5196454">
                <a:moveTo>
                  <a:pt x="3326462" y="31"/>
                </a:moveTo>
                <a:cubicBezTo>
                  <a:pt x="3388927" y="-1544"/>
                  <a:pt x="3429951" y="58068"/>
                  <a:pt x="3429951" y="170650"/>
                </a:cubicBezTo>
                <a:lnTo>
                  <a:pt x="3429951" y="1728646"/>
                </a:lnTo>
                <a:cubicBezTo>
                  <a:pt x="3429951" y="1908777"/>
                  <a:pt x="3324709" y="2155810"/>
                  <a:pt x="3194878" y="2280550"/>
                </a:cubicBezTo>
                <a:lnTo>
                  <a:pt x="233746" y="5125804"/>
                </a:lnTo>
                <a:cubicBezTo>
                  <a:pt x="103916" y="5250539"/>
                  <a:pt x="-661" y="5205784"/>
                  <a:pt x="4" y="5025658"/>
                </a:cubicBezTo>
                <a:lnTo>
                  <a:pt x="6209" y="3467657"/>
                </a:lnTo>
                <a:cubicBezTo>
                  <a:pt x="6209" y="3287531"/>
                  <a:pt x="112777" y="3040493"/>
                  <a:pt x="242387" y="2915538"/>
                </a:cubicBezTo>
                <a:lnTo>
                  <a:pt x="3195099" y="70724"/>
                </a:lnTo>
                <a:cubicBezTo>
                  <a:pt x="3243785" y="23948"/>
                  <a:pt x="3288983" y="976"/>
                  <a:pt x="3326462" y="31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3835834-19A1-FEEB-9B2F-2793DE60A23C}"/>
              </a:ext>
            </a:extLst>
          </p:cNvPr>
          <p:cNvSpPr/>
          <p:nvPr userDrawn="1"/>
        </p:nvSpPr>
        <p:spPr>
          <a:xfrm>
            <a:off x="0" y="3069411"/>
            <a:ext cx="589402" cy="2701735"/>
          </a:xfrm>
          <a:custGeom>
            <a:avLst/>
            <a:gdLst>
              <a:gd name="connsiteX0" fmla="*/ 481847 w 589402"/>
              <a:gd name="connsiteY0" fmla="*/ 32 h 2701735"/>
              <a:gd name="connsiteX1" fmla="*/ 589402 w 589402"/>
              <a:gd name="connsiteY1" fmla="*/ 177354 h 2701735"/>
              <a:gd name="connsiteX2" fmla="*/ 589402 w 589402"/>
              <a:gd name="connsiteY2" fmla="*/ 1796558 h 2701735"/>
              <a:gd name="connsiteX3" fmla="*/ 345095 w 589402"/>
              <a:gd name="connsiteY3" fmla="*/ 2370144 h 2701735"/>
              <a:gd name="connsiteX4" fmla="*/ 0 w 589402"/>
              <a:gd name="connsiteY4" fmla="*/ 2701735 h 2701735"/>
              <a:gd name="connsiteX5" fmla="*/ 0 w 589402"/>
              <a:gd name="connsiteY5" fmla="*/ 406207 h 2701735"/>
              <a:gd name="connsiteX6" fmla="*/ 345324 w 589402"/>
              <a:gd name="connsiteY6" fmla="*/ 73502 h 2701735"/>
              <a:gd name="connsiteX7" fmla="*/ 481847 w 589402"/>
              <a:gd name="connsiteY7" fmla="*/ 32 h 270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9402" h="2701735">
                <a:moveTo>
                  <a:pt x="481847" y="32"/>
                </a:moveTo>
                <a:cubicBezTo>
                  <a:pt x="546766" y="-1605"/>
                  <a:pt x="589402" y="60350"/>
                  <a:pt x="589402" y="177354"/>
                </a:cubicBezTo>
                <a:lnTo>
                  <a:pt x="589402" y="1796558"/>
                </a:lnTo>
                <a:cubicBezTo>
                  <a:pt x="589402" y="1983765"/>
                  <a:pt x="480026" y="2240504"/>
                  <a:pt x="345095" y="2370144"/>
                </a:cubicBezTo>
                <a:lnTo>
                  <a:pt x="0" y="2701735"/>
                </a:lnTo>
                <a:lnTo>
                  <a:pt x="0" y="406207"/>
                </a:lnTo>
                <a:lnTo>
                  <a:pt x="345324" y="73502"/>
                </a:lnTo>
                <a:cubicBezTo>
                  <a:pt x="395923" y="24889"/>
                  <a:pt x="442896" y="1014"/>
                  <a:pt x="481847" y="32"/>
                </a:cubicBezTo>
                <a:close/>
              </a:path>
            </a:pathLst>
          </a:custGeom>
          <a:solidFill>
            <a:srgbClr val="750D68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27" name="Title 1">
            <a:extLst>
              <a:ext uri="{FF2B5EF4-FFF2-40B4-BE49-F238E27FC236}">
                <a16:creationId xmlns:a16="http://schemas.microsoft.com/office/drawing/2014/main" id="{4B5A252A-022F-6475-E63C-40D636079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/>
              <a:t>This project is financed by the European Union</a:t>
            </a:r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4CA45CA3-A343-CBEE-CC63-3B6DBA7621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71665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rgbClr val="38B6AB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7E5838E8-6D08-6B46-D841-497CB89494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664036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chemeClr val="accent3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B2A2D78-CF0C-4519-44D5-836EBCB0EFB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581474" y="5350924"/>
            <a:ext cx="592553" cy="395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6238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 nodePh="1">
                                  <p:stCondLst>
                                    <p:cond delay="100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 nodePh="1">
                                  <p:stCondLst>
                                    <p:cond delay="125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1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0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50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2" grpId="0" animBg="1"/>
      <p:bldP spid="31" grpId="0" animBg="1"/>
      <p:bldP spid="34" grpId="0" animBg="1"/>
      <p:bldP spid="18" grpId="0" animBg="1"/>
      <p:bldP spid="127" grpId="0"/>
      <p:bldP spid="130" grpId="0" uiExpand="1" build="p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4" decel="100000" fill="hold" nodeType="withEffect" nodePh="1">
                  <p:stCondLst>
                    <p:cond delay="10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uiExpand="1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 nodePh="1">
                  <p:stCondLst>
                    <p:cond delay="12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16A59692-18AC-0E4A-B387-27824A2ADDF1}"/>
              </a:ext>
            </a:extLst>
          </p:cNvPr>
          <p:cNvSpPr/>
          <p:nvPr userDrawn="1"/>
        </p:nvSpPr>
        <p:spPr>
          <a:xfrm flipV="1">
            <a:off x="2553515" y="1903682"/>
            <a:ext cx="3400879" cy="4954318"/>
          </a:xfrm>
          <a:custGeom>
            <a:avLst/>
            <a:gdLst>
              <a:gd name="connsiteX0" fmla="*/ 101690 w 3400879"/>
              <a:gd name="connsiteY0" fmla="*/ 4954291 h 4954318"/>
              <a:gd name="connsiteX1" fmla="*/ 231765 w 3400879"/>
              <a:gd name="connsiteY1" fmla="*/ 4884267 h 4954318"/>
              <a:gd name="connsiteX2" fmla="*/ 3167799 w 3400879"/>
              <a:gd name="connsiteY2" fmla="*/ 2063128 h 4954318"/>
              <a:gd name="connsiteX3" fmla="*/ 3400879 w 3400879"/>
              <a:gd name="connsiteY3" fmla="*/ 1515903 h 4954318"/>
              <a:gd name="connsiteX4" fmla="*/ 3400879 w 3400879"/>
              <a:gd name="connsiteY4" fmla="*/ 0 h 4954318"/>
              <a:gd name="connsiteX5" fmla="*/ 3035197 w 3400879"/>
              <a:gd name="connsiteY5" fmla="*/ 0 h 4954318"/>
              <a:gd name="connsiteX6" fmla="*/ 240333 w 3400879"/>
              <a:gd name="connsiteY6" fmla="*/ 2692735 h 4954318"/>
              <a:gd name="connsiteX7" fmla="*/ 6157 w 3400879"/>
              <a:gd name="connsiteY7" fmla="*/ 3240174 h 4954318"/>
              <a:gd name="connsiteX8" fmla="*/ 4 w 3400879"/>
              <a:gd name="connsiteY8" fmla="*/ 4784970 h 4954318"/>
              <a:gd name="connsiteX9" fmla="*/ 101690 w 3400879"/>
              <a:gd name="connsiteY9" fmla="*/ 4954291 h 495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4954318">
                <a:moveTo>
                  <a:pt x="101690" y="4954291"/>
                </a:moveTo>
                <a:cubicBezTo>
                  <a:pt x="138739" y="4953393"/>
                  <a:pt x="183492" y="4930646"/>
                  <a:pt x="231765" y="4884267"/>
                </a:cubicBezTo>
                <a:lnTo>
                  <a:pt x="3167799" y="2063128"/>
                </a:lnTo>
                <a:cubicBezTo>
                  <a:pt x="3296529" y="1939446"/>
                  <a:pt x="3400879" y="1694506"/>
                  <a:pt x="3400879" y="1515903"/>
                </a:cubicBezTo>
                <a:lnTo>
                  <a:pt x="3400879" y="0"/>
                </a:lnTo>
                <a:lnTo>
                  <a:pt x="3035197" y="0"/>
                </a:lnTo>
                <a:lnTo>
                  <a:pt x="240333" y="2692735"/>
                </a:lnTo>
                <a:cubicBezTo>
                  <a:pt x="111821" y="2816630"/>
                  <a:pt x="6157" y="3061575"/>
                  <a:pt x="6157" y="3240174"/>
                </a:cubicBezTo>
                <a:lnTo>
                  <a:pt x="4" y="4784970"/>
                </a:lnTo>
                <a:cubicBezTo>
                  <a:pt x="-408" y="4896594"/>
                  <a:pt x="39942" y="4955787"/>
                  <a:pt x="101690" y="4954291"/>
                </a:cubicBezTo>
                <a:close/>
              </a:path>
            </a:pathLst>
          </a:custGeom>
          <a:solidFill>
            <a:srgbClr val="27257A">
              <a:alpha val="4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9D84DB3B-EE16-75C2-709B-5045D24BD3D2}"/>
              </a:ext>
            </a:extLst>
          </p:cNvPr>
          <p:cNvSpPr/>
          <p:nvPr userDrawn="1"/>
        </p:nvSpPr>
        <p:spPr>
          <a:xfrm>
            <a:off x="469027" y="0"/>
            <a:ext cx="7499182" cy="6858000"/>
          </a:xfrm>
          <a:custGeom>
            <a:avLst/>
            <a:gdLst>
              <a:gd name="connsiteX0" fmla="*/ 6872385 w 7503995"/>
              <a:gd name="connsiteY0" fmla="*/ 0 h 6845197"/>
              <a:gd name="connsiteX1" fmla="*/ 7494744 w 7503995"/>
              <a:gd name="connsiteY1" fmla="*/ 0 h 6845197"/>
              <a:gd name="connsiteX2" fmla="*/ 7499783 w 7503995"/>
              <a:gd name="connsiteY2" fmla="*/ 31741 h 6845197"/>
              <a:gd name="connsiteX3" fmla="*/ 7503995 w 7503995"/>
              <a:gd name="connsiteY3" fmla="*/ 120512 h 6845197"/>
              <a:gd name="connsiteX4" fmla="*/ 7503995 w 7503995"/>
              <a:gd name="connsiteY4" fmla="*/ 3602593 h 6845197"/>
              <a:gd name="connsiteX5" fmla="*/ 6978614 w 7503995"/>
              <a:gd name="connsiteY5" fmla="*/ 4836084 h 6845197"/>
              <a:gd name="connsiteX6" fmla="*/ 4887676 w 7503995"/>
              <a:gd name="connsiteY6" fmla="*/ 6845197 h 6845197"/>
              <a:gd name="connsiteX7" fmla="*/ 0 w 7503995"/>
              <a:gd name="connsiteY7" fmla="*/ 6845197 h 6845197"/>
              <a:gd name="connsiteX8" fmla="*/ 7318 w 7503995"/>
              <a:gd name="connsiteY8" fmla="*/ 6826013 h 6845197"/>
              <a:gd name="connsiteX9" fmla="*/ 379872 w 7503995"/>
              <a:gd name="connsiteY9" fmla="*/ 6255267 h 6845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503995" h="6845197">
                <a:moveTo>
                  <a:pt x="6872385" y="0"/>
                </a:moveTo>
                <a:lnTo>
                  <a:pt x="7494744" y="0"/>
                </a:lnTo>
                <a:lnTo>
                  <a:pt x="7499783" y="31741"/>
                </a:lnTo>
                <a:cubicBezTo>
                  <a:pt x="7502563" y="59458"/>
                  <a:pt x="7503995" y="89060"/>
                  <a:pt x="7503995" y="120512"/>
                </a:cubicBezTo>
                <a:lnTo>
                  <a:pt x="7503995" y="3602593"/>
                </a:lnTo>
                <a:cubicBezTo>
                  <a:pt x="7503995" y="4005180"/>
                  <a:pt x="7268781" y="4557294"/>
                  <a:pt x="6978614" y="4836084"/>
                </a:cubicBezTo>
                <a:lnTo>
                  <a:pt x="4887676" y="6845197"/>
                </a:lnTo>
                <a:lnTo>
                  <a:pt x="0" y="6845197"/>
                </a:lnTo>
                <a:lnTo>
                  <a:pt x="7318" y="6826013"/>
                </a:lnTo>
                <a:cubicBezTo>
                  <a:pt x="103071" y="6602751"/>
                  <a:pt x="235034" y="6394902"/>
                  <a:pt x="379872" y="6255267"/>
                </a:cubicBezTo>
                <a:close/>
              </a:path>
            </a:pathLst>
          </a:custGeom>
          <a:solidFill>
            <a:srgbClr val="00A070">
              <a:alpha val="2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F76C648E-DF52-0BE6-F84E-068DC417EE92}"/>
              </a:ext>
            </a:extLst>
          </p:cNvPr>
          <p:cNvSpPr/>
          <p:nvPr userDrawn="1"/>
        </p:nvSpPr>
        <p:spPr>
          <a:xfrm>
            <a:off x="0" y="2853346"/>
            <a:ext cx="3001952" cy="4004655"/>
          </a:xfrm>
          <a:custGeom>
            <a:avLst/>
            <a:gdLst>
              <a:gd name="connsiteX0" fmla="*/ 2904183 w 3001952"/>
              <a:gd name="connsiteY0" fmla="*/ 29 h 4004655"/>
              <a:gd name="connsiteX1" fmla="*/ 3001952 w 3001952"/>
              <a:gd name="connsiteY1" fmla="*/ 161218 h 4004655"/>
              <a:gd name="connsiteX2" fmla="*/ 3001952 w 3001952"/>
              <a:gd name="connsiteY2" fmla="*/ 1633097 h 4004655"/>
              <a:gd name="connsiteX3" fmla="*/ 2779873 w 3001952"/>
              <a:gd name="connsiteY3" fmla="*/ 2154495 h 4004655"/>
              <a:gd name="connsiteX4" fmla="*/ 854363 w 3001952"/>
              <a:gd name="connsiteY4" fmla="*/ 4004655 h 4004655"/>
              <a:gd name="connsiteX5" fmla="*/ 0 w 3001952"/>
              <a:gd name="connsiteY5" fmla="*/ 4004655 h 4004655"/>
              <a:gd name="connsiteX6" fmla="*/ 0 w 3001952"/>
              <a:gd name="connsiteY6" fmla="*/ 2745307 h 4004655"/>
              <a:gd name="connsiteX7" fmla="*/ 2780081 w 3001952"/>
              <a:gd name="connsiteY7" fmla="*/ 66815 h 4004655"/>
              <a:gd name="connsiteX8" fmla="*/ 2904183 w 3001952"/>
              <a:gd name="connsiteY8" fmla="*/ 29 h 4004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01952" h="4004655">
                <a:moveTo>
                  <a:pt x="2904183" y="29"/>
                </a:moveTo>
                <a:cubicBezTo>
                  <a:pt x="2963196" y="-1459"/>
                  <a:pt x="3001952" y="54859"/>
                  <a:pt x="3001952" y="161218"/>
                </a:cubicBezTo>
                <a:lnTo>
                  <a:pt x="3001952" y="1633097"/>
                </a:lnTo>
                <a:cubicBezTo>
                  <a:pt x="3001952" y="1803271"/>
                  <a:pt x="2902527" y="2036650"/>
                  <a:pt x="2779873" y="2154495"/>
                </a:cubicBezTo>
                <a:lnTo>
                  <a:pt x="854363" y="4004655"/>
                </a:lnTo>
                <a:lnTo>
                  <a:pt x="0" y="4004655"/>
                </a:lnTo>
                <a:lnTo>
                  <a:pt x="0" y="2745307"/>
                </a:lnTo>
                <a:lnTo>
                  <a:pt x="2780081" y="66815"/>
                </a:lnTo>
                <a:cubicBezTo>
                  <a:pt x="2826077" y="22625"/>
                  <a:pt x="2868777" y="922"/>
                  <a:pt x="2904183" y="29"/>
                </a:cubicBezTo>
                <a:close/>
              </a:path>
            </a:pathLst>
          </a:custGeom>
          <a:solidFill>
            <a:schemeClr val="accent4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70CAD6CE-C706-1ADE-7266-1D793CECED7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891962"/>
            <a:ext cx="854789" cy="2883102"/>
          </a:xfrm>
          <a:custGeom>
            <a:avLst/>
            <a:gdLst>
              <a:gd name="connsiteX0" fmla="*/ 750943 w 854789"/>
              <a:gd name="connsiteY0" fmla="*/ 31 h 2883102"/>
              <a:gd name="connsiteX1" fmla="*/ 854789 w 854789"/>
              <a:gd name="connsiteY1" fmla="*/ 171239 h 2883102"/>
              <a:gd name="connsiteX2" fmla="*/ 854789 w 854789"/>
              <a:gd name="connsiteY2" fmla="*/ 1734608 h 2883102"/>
              <a:gd name="connsiteX3" fmla="*/ 618906 w 854789"/>
              <a:gd name="connsiteY3" fmla="*/ 2288415 h 2883102"/>
              <a:gd name="connsiteX4" fmla="*/ 0 w 854789"/>
              <a:gd name="connsiteY4" fmla="*/ 2883102 h 2883102"/>
              <a:gd name="connsiteX5" fmla="*/ 0 w 854789"/>
              <a:gd name="connsiteY5" fmla="*/ 667471 h 2883102"/>
              <a:gd name="connsiteX6" fmla="*/ 619127 w 854789"/>
              <a:gd name="connsiteY6" fmla="*/ 70968 h 2883102"/>
              <a:gd name="connsiteX7" fmla="*/ 750943 w 854789"/>
              <a:gd name="connsiteY7" fmla="*/ 31 h 2883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4789" h="2883102">
                <a:moveTo>
                  <a:pt x="750943" y="31"/>
                </a:moveTo>
                <a:cubicBezTo>
                  <a:pt x="813623" y="-1549"/>
                  <a:pt x="854789" y="58269"/>
                  <a:pt x="854789" y="171239"/>
                </a:cubicBezTo>
                <a:lnTo>
                  <a:pt x="854789" y="1734608"/>
                </a:lnTo>
                <a:cubicBezTo>
                  <a:pt x="854789" y="1915360"/>
                  <a:pt x="749184" y="2163245"/>
                  <a:pt x="618906" y="2288415"/>
                </a:cubicBezTo>
                <a:lnTo>
                  <a:pt x="0" y="2883102"/>
                </a:lnTo>
                <a:lnTo>
                  <a:pt x="0" y="667471"/>
                </a:lnTo>
                <a:lnTo>
                  <a:pt x="619127" y="70968"/>
                </a:lnTo>
                <a:cubicBezTo>
                  <a:pt x="667981" y="24031"/>
                  <a:pt x="713335" y="980"/>
                  <a:pt x="750943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450AB378-581F-F9A8-4147-4DFDEF2965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11588" y="2257874"/>
            <a:ext cx="3440011" cy="4600126"/>
          </a:xfrm>
          <a:custGeom>
            <a:avLst/>
            <a:gdLst>
              <a:gd name="connsiteX0" fmla="*/ 3336165 w 3440011"/>
              <a:gd name="connsiteY0" fmla="*/ 31 h 4600126"/>
              <a:gd name="connsiteX1" fmla="*/ 3440011 w 3440011"/>
              <a:gd name="connsiteY1" fmla="*/ 171239 h 4600126"/>
              <a:gd name="connsiteX2" fmla="*/ 3440011 w 3440011"/>
              <a:gd name="connsiteY2" fmla="*/ 1734608 h 4600126"/>
              <a:gd name="connsiteX3" fmla="*/ 3204128 w 3440011"/>
              <a:gd name="connsiteY3" fmla="*/ 2288415 h 4600126"/>
              <a:gd name="connsiteX4" fmla="*/ 798269 w 3440011"/>
              <a:gd name="connsiteY4" fmla="*/ 4600126 h 4600126"/>
              <a:gd name="connsiteX5" fmla="*/ 0 w 3440011"/>
              <a:gd name="connsiteY5" fmla="*/ 4600126 h 4600126"/>
              <a:gd name="connsiteX6" fmla="*/ 4463 w 3440011"/>
              <a:gd name="connsiteY6" fmla="*/ 3479617 h 4600126"/>
              <a:gd name="connsiteX7" fmla="*/ 241455 w 3440011"/>
              <a:gd name="connsiteY7" fmla="*/ 2925593 h 4600126"/>
              <a:gd name="connsiteX8" fmla="*/ 3204349 w 3440011"/>
              <a:gd name="connsiteY8" fmla="*/ 70968 h 4600126"/>
              <a:gd name="connsiteX9" fmla="*/ 3336165 w 3440011"/>
              <a:gd name="connsiteY9" fmla="*/ 31 h 4600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40011" h="4600126">
                <a:moveTo>
                  <a:pt x="3336165" y="31"/>
                </a:moveTo>
                <a:cubicBezTo>
                  <a:pt x="3398846" y="-1549"/>
                  <a:pt x="3440011" y="58269"/>
                  <a:pt x="3440011" y="171239"/>
                </a:cubicBezTo>
                <a:lnTo>
                  <a:pt x="3440011" y="1734608"/>
                </a:lnTo>
                <a:cubicBezTo>
                  <a:pt x="3440011" y="1915360"/>
                  <a:pt x="3334406" y="2163245"/>
                  <a:pt x="3204128" y="2288415"/>
                </a:cubicBezTo>
                <a:lnTo>
                  <a:pt x="798269" y="4600126"/>
                </a:lnTo>
                <a:lnTo>
                  <a:pt x="0" y="4600126"/>
                </a:lnTo>
                <a:lnTo>
                  <a:pt x="4463" y="3479617"/>
                </a:lnTo>
                <a:cubicBezTo>
                  <a:pt x="4463" y="3298869"/>
                  <a:pt x="111398" y="3050979"/>
                  <a:pt x="241455" y="2925593"/>
                </a:cubicBezTo>
                <a:lnTo>
                  <a:pt x="3204349" y="70968"/>
                </a:lnTo>
                <a:cubicBezTo>
                  <a:pt x="3253204" y="24031"/>
                  <a:pt x="3298557" y="980"/>
                  <a:pt x="3336165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D3792340-32BE-88F6-ACE3-36C759D08793}"/>
              </a:ext>
            </a:extLst>
          </p:cNvPr>
          <p:cNvSpPr/>
          <p:nvPr userDrawn="1"/>
        </p:nvSpPr>
        <p:spPr>
          <a:xfrm flipH="1" flipV="1">
            <a:off x="5086440" y="2704513"/>
            <a:ext cx="3746773" cy="4153487"/>
          </a:xfrm>
          <a:custGeom>
            <a:avLst/>
            <a:gdLst>
              <a:gd name="connsiteX0" fmla="*/ 101690 w 3400879"/>
              <a:gd name="connsiteY0" fmla="*/ 3770019 h 3770046"/>
              <a:gd name="connsiteX1" fmla="*/ 4 w 3400879"/>
              <a:gd name="connsiteY1" fmla="*/ 3600697 h 3770046"/>
              <a:gd name="connsiteX2" fmla="*/ 6157 w 3400879"/>
              <a:gd name="connsiteY2" fmla="*/ 2055902 h 3770046"/>
              <a:gd name="connsiteX3" fmla="*/ 240333 w 3400879"/>
              <a:gd name="connsiteY3" fmla="*/ 1508463 h 3770046"/>
              <a:gd name="connsiteX4" fmla="*/ 1806008 w 3400879"/>
              <a:gd name="connsiteY4" fmla="*/ 0 h 3770046"/>
              <a:gd name="connsiteX5" fmla="*/ 3400879 w 3400879"/>
              <a:gd name="connsiteY5" fmla="*/ 0 h 3770046"/>
              <a:gd name="connsiteX6" fmla="*/ 3400879 w 3400879"/>
              <a:gd name="connsiteY6" fmla="*/ 331631 h 3770046"/>
              <a:gd name="connsiteX7" fmla="*/ 3167799 w 3400879"/>
              <a:gd name="connsiteY7" fmla="*/ 878856 h 3770046"/>
              <a:gd name="connsiteX8" fmla="*/ 231765 w 3400879"/>
              <a:gd name="connsiteY8" fmla="*/ 3699995 h 3770046"/>
              <a:gd name="connsiteX9" fmla="*/ 101690 w 3400879"/>
              <a:gd name="connsiteY9" fmla="*/ 3770019 h 3770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3770046">
                <a:moveTo>
                  <a:pt x="101690" y="3770019"/>
                </a:moveTo>
                <a:cubicBezTo>
                  <a:pt x="39942" y="3771515"/>
                  <a:pt x="-408" y="3712322"/>
                  <a:pt x="4" y="3600697"/>
                </a:cubicBezTo>
                <a:lnTo>
                  <a:pt x="6157" y="2055902"/>
                </a:lnTo>
                <a:cubicBezTo>
                  <a:pt x="6157" y="1877303"/>
                  <a:pt x="111821" y="1632358"/>
                  <a:pt x="240333" y="1508463"/>
                </a:cubicBezTo>
                <a:lnTo>
                  <a:pt x="1806008" y="0"/>
                </a:lnTo>
                <a:lnTo>
                  <a:pt x="3400879" y="0"/>
                </a:lnTo>
                <a:lnTo>
                  <a:pt x="3400879" y="331631"/>
                </a:lnTo>
                <a:cubicBezTo>
                  <a:pt x="3400879" y="510234"/>
                  <a:pt x="3296529" y="755174"/>
                  <a:pt x="3167799" y="878856"/>
                </a:cubicBezTo>
                <a:lnTo>
                  <a:pt x="231765" y="3699995"/>
                </a:lnTo>
                <a:cubicBezTo>
                  <a:pt x="183491" y="3746374"/>
                  <a:pt x="138739" y="3769121"/>
                  <a:pt x="101690" y="3770019"/>
                </a:cubicBezTo>
                <a:close/>
              </a:path>
            </a:pathLst>
          </a:custGeom>
          <a:solidFill>
            <a:schemeClr val="accent4">
              <a:alpha val="37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94DF9C5-1ACE-4653-DD2A-168090968222}"/>
              </a:ext>
            </a:extLst>
          </p:cNvPr>
          <p:cNvSpPr/>
          <p:nvPr userDrawn="1"/>
        </p:nvSpPr>
        <p:spPr>
          <a:xfrm flipV="1">
            <a:off x="5998219" y="3857193"/>
            <a:ext cx="3263724" cy="3013611"/>
          </a:xfrm>
          <a:custGeom>
            <a:avLst/>
            <a:gdLst>
              <a:gd name="connsiteX0" fmla="*/ 101690 w 3263724"/>
              <a:gd name="connsiteY0" fmla="*/ 3013584 h 3013611"/>
              <a:gd name="connsiteX1" fmla="*/ 231765 w 3263724"/>
              <a:gd name="connsiteY1" fmla="*/ 2943560 h 3013611"/>
              <a:gd name="connsiteX2" fmla="*/ 3167799 w 3263724"/>
              <a:gd name="connsiteY2" fmla="*/ 122421 h 3013611"/>
              <a:gd name="connsiteX3" fmla="*/ 3258526 w 3263724"/>
              <a:gd name="connsiteY3" fmla="*/ 9855 h 3013611"/>
              <a:gd name="connsiteX4" fmla="*/ 3263724 w 3263724"/>
              <a:gd name="connsiteY4" fmla="*/ 0 h 3013611"/>
              <a:gd name="connsiteX5" fmla="*/ 1020884 w 3263724"/>
              <a:gd name="connsiteY5" fmla="*/ 0 h 3013611"/>
              <a:gd name="connsiteX6" fmla="*/ 240333 w 3263724"/>
              <a:gd name="connsiteY6" fmla="*/ 752028 h 3013611"/>
              <a:gd name="connsiteX7" fmla="*/ 6157 w 3263724"/>
              <a:gd name="connsiteY7" fmla="*/ 1299467 h 3013611"/>
              <a:gd name="connsiteX8" fmla="*/ 4 w 3263724"/>
              <a:gd name="connsiteY8" fmla="*/ 2844263 h 3013611"/>
              <a:gd name="connsiteX9" fmla="*/ 101690 w 3263724"/>
              <a:gd name="connsiteY9" fmla="*/ 3013584 h 3013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63724" h="3013611">
                <a:moveTo>
                  <a:pt x="101690" y="3013584"/>
                </a:moveTo>
                <a:cubicBezTo>
                  <a:pt x="138739" y="3012686"/>
                  <a:pt x="183492" y="2989939"/>
                  <a:pt x="231765" y="2943560"/>
                </a:cubicBezTo>
                <a:lnTo>
                  <a:pt x="3167799" y="122421"/>
                </a:lnTo>
                <a:cubicBezTo>
                  <a:pt x="3199981" y="91501"/>
                  <a:pt x="3230640" y="53002"/>
                  <a:pt x="3258526" y="9855"/>
                </a:cubicBezTo>
                <a:lnTo>
                  <a:pt x="3263724" y="0"/>
                </a:lnTo>
                <a:lnTo>
                  <a:pt x="1020884" y="0"/>
                </a:lnTo>
                <a:lnTo>
                  <a:pt x="240333" y="752028"/>
                </a:lnTo>
                <a:cubicBezTo>
                  <a:pt x="111821" y="875923"/>
                  <a:pt x="6157" y="1120868"/>
                  <a:pt x="6157" y="1299467"/>
                </a:cubicBezTo>
                <a:lnTo>
                  <a:pt x="4" y="2844263"/>
                </a:lnTo>
                <a:cubicBezTo>
                  <a:pt x="-408" y="2955887"/>
                  <a:pt x="39942" y="3015080"/>
                  <a:pt x="101690" y="3013584"/>
                </a:cubicBezTo>
                <a:close/>
              </a:path>
            </a:pathLst>
          </a:custGeom>
          <a:solidFill>
            <a:srgbClr val="00A070">
              <a:alpha val="3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E6E9FE-8B81-CF95-8FC4-107CC12139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/>
              <a:t>This project is financed by the European Union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9568C82C-0ABF-60DC-87D7-7725851A517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581474" y="5350924"/>
            <a:ext cx="592553" cy="395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5094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6" grpId="0" animBg="1"/>
      <p:bldP spid="41" grpId="0" animBg="1"/>
      <p:bldP spid="25" grpId="0" animBg="1"/>
      <p:bldP spid="26" grpId="0" animBg="1"/>
      <p:bldP spid="44" grpId="0" animBg="1"/>
      <p:bldP spid="49" grpId="0" animBg="1"/>
      <p:bldP spid="2" grpId="0"/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Picture Placeholder 170">
            <a:extLst>
              <a:ext uri="{FF2B5EF4-FFF2-40B4-BE49-F238E27FC236}">
                <a16:creationId xmlns:a16="http://schemas.microsoft.com/office/drawing/2014/main" id="{E39566F6-E67C-A855-340C-601E04B8FC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2468992" cy="4189512"/>
          </a:xfrm>
          <a:custGeom>
            <a:avLst/>
            <a:gdLst>
              <a:gd name="connsiteX0" fmla="*/ 2023284 w 2468992"/>
              <a:gd name="connsiteY0" fmla="*/ 0 h 4189512"/>
              <a:gd name="connsiteX1" fmla="*/ 2468992 w 2468992"/>
              <a:gd name="connsiteY1" fmla="*/ 0 h 4189512"/>
              <a:gd name="connsiteX2" fmla="*/ 2468992 w 2468992"/>
              <a:gd name="connsiteY2" fmla="*/ 1485749 h 4189512"/>
              <a:gd name="connsiteX3" fmla="*/ 2230055 w 2468992"/>
              <a:gd name="connsiteY3" fmla="*/ 2046726 h 4189512"/>
              <a:gd name="connsiteX4" fmla="*/ 0 w 2468992"/>
              <a:gd name="connsiteY4" fmla="*/ 4189512 h 4189512"/>
              <a:gd name="connsiteX5" fmla="*/ 0 w 2468992"/>
              <a:gd name="connsiteY5" fmla="*/ 1949350 h 4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68992" h="4189512">
                <a:moveTo>
                  <a:pt x="2023284" y="0"/>
                </a:moveTo>
                <a:lnTo>
                  <a:pt x="2468992" y="0"/>
                </a:lnTo>
                <a:lnTo>
                  <a:pt x="2468992" y="1485749"/>
                </a:lnTo>
                <a:cubicBezTo>
                  <a:pt x="2468992" y="1668841"/>
                  <a:pt x="2362019" y="1919936"/>
                  <a:pt x="2230055" y="2046726"/>
                </a:cubicBezTo>
                <a:lnTo>
                  <a:pt x="0" y="4189512"/>
                </a:lnTo>
                <a:lnTo>
                  <a:pt x="0" y="19493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3" name="Picture Placeholder 172">
            <a:extLst>
              <a:ext uri="{FF2B5EF4-FFF2-40B4-BE49-F238E27FC236}">
                <a16:creationId xmlns:a16="http://schemas.microsoft.com/office/drawing/2014/main" id="{0992B498-A50C-0779-1448-C4C3A12D2DD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714666" y="3771987"/>
            <a:ext cx="3336776" cy="3086012"/>
          </a:xfrm>
          <a:custGeom>
            <a:avLst/>
            <a:gdLst>
              <a:gd name="connsiteX0" fmla="*/ 105190 w 3336776"/>
              <a:gd name="connsiteY0" fmla="*/ 31 h 3086012"/>
              <a:gd name="connsiteX1" fmla="*/ 238713 w 3336776"/>
              <a:gd name="connsiteY1" fmla="*/ 71887 h 3086012"/>
              <a:gd name="connsiteX2" fmla="*/ 3239968 w 3336776"/>
              <a:gd name="connsiteY2" fmla="*/ 2963471 h 3086012"/>
              <a:gd name="connsiteX3" fmla="*/ 3333056 w 3336776"/>
              <a:gd name="connsiteY3" fmla="*/ 3078994 h 3086012"/>
              <a:gd name="connsiteX4" fmla="*/ 3336776 w 3336776"/>
              <a:gd name="connsiteY4" fmla="*/ 3086012 h 3086012"/>
              <a:gd name="connsiteX5" fmla="*/ 1038182 w 3336776"/>
              <a:gd name="connsiteY5" fmla="*/ 3086012 h 3086012"/>
              <a:gd name="connsiteX6" fmla="*/ 238937 w 3336776"/>
              <a:gd name="connsiteY6" fmla="*/ 2318043 h 3086012"/>
              <a:gd name="connsiteX7" fmla="*/ 0 w 3336776"/>
              <a:gd name="connsiteY7" fmla="*/ 1757066 h 3086012"/>
              <a:gd name="connsiteX8" fmla="*/ 0 w 3336776"/>
              <a:gd name="connsiteY8" fmla="*/ 173456 h 3086012"/>
              <a:gd name="connsiteX9" fmla="*/ 105190 w 3336776"/>
              <a:gd name="connsiteY9" fmla="*/ 31 h 3086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36776" h="3086012">
                <a:moveTo>
                  <a:pt x="105190" y="31"/>
                </a:moveTo>
                <a:cubicBezTo>
                  <a:pt x="143285" y="992"/>
                  <a:pt x="189226" y="24342"/>
                  <a:pt x="238713" y="71887"/>
                </a:cubicBezTo>
                <a:lnTo>
                  <a:pt x="3239968" y="2963471"/>
                </a:lnTo>
                <a:cubicBezTo>
                  <a:pt x="3272903" y="2995224"/>
                  <a:pt x="3304375" y="3034732"/>
                  <a:pt x="3333056" y="3078994"/>
                </a:cubicBezTo>
                <a:lnTo>
                  <a:pt x="3336776" y="3086012"/>
                </a:lnTo>
                <a:lnTo>
                  <a:pt x="1038182" y="3086012"/>
                </a:lnTo>
                <a:lnTo>
                  <a:pt x="238937" y="2318043"/>
                </a:lnTo>
                <a:cubicBezTo>
                  <a:pt x="106972" y="2191253"/>
                  <a:pt x="0" y="1940158"/>
                  <a:pt x="0" y="1757066"/>
                </a:cubicBezTo>
                <a:lnTo>
                  <a:pt x="0" y="173456"/>
                </a:lnTo>
                <a:cubicBezTo>
                  <a:pt x="0" y="59023"/>
                  <a:pt x="41698" y="-1570"/>
                  <a:pt x="105190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4" name="Picture Placeholder 173">
            <a:extLst>
              <a:ext uri="{FF2B5EF4-FFF2-40B4-BE49-F238E27FC236}">
                <a16:creationId xmlns:a16="http://schemas.microsoft.com/office/drawing/2014/main" id="{38986D5E-6A4C-ABBA-AA85-354C99FF445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4898" y="4763759"/>
            <a:ext cx="2337771" cy="2094241"/>
          </a:xfrm>
          <a:custGeom>
            <a:avLst/>
            <a:gdLst>
              <a:gd name="connsiteX0" fmla="*/ 105190 w 2337771"/>
              <a:gd name="connsiteY0" fmla="*/ 31 h 2094241"/>
              <a:gd name="connsiteX1" fmla="*/ 238713 w 2337771"/>
              <a:gd name="connsiteY1" fmla="*/ 71887 h 2094241"/>
              <a:gd name="connsiteX2" fmla="*/ 2337771 w 2337771"/>
              <a:gd name="connsiteY2" fmla="*/ 2094241 h 2094241"/>
              <a:gd name="connsiteX3" fmla="*/ 88746 w 2337771"/>
              <a:gd name="connsiteY3" fmla="*/ 2094241 h 2094241"/>
              <a:gd name="connsiteX4" fmla="*/ 69981 w 2337771"/>
              <a:gd name="connsiteY4" fmla="*/ 2058668 h 2094241"/>
              <a:gd name="connsiteX5" fmla="*/ 0 w 2337771"/>
              <a:gd name="connsiteY5" fmla="*/ 1757066 h 2094241"/>
              <a:gd name="connsiteX6" fmla="*/ 0 w 2337771"/>
              <a:gd name="connsiteY6" fmla="*/ 173456 h 2094241"/>
              <a:gd name="connsiteX7" fmla="*/ 105190 w 2337771"/>
              <a:gd name="connsiteY7" fmla="*/ 31 h 2094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37771" h="2094241">
                <a:moveTo>
                  <a:pt x="105190" y="31"/>
                </a:moveTo>
                <a:cubicBezTo>
                  <a:pt x="143285" y="992"/>
                  <a:pt x="189226" y="24342"/>
                  <a:pt x="238713" y="71887"/>
                </a:cubicBezTo>
                <a:lnTo>
                  <a:pt x="2337771" y="2094241"/>
                </a:lnTo>
                <a:lnTo>
                  <a:pt x="88746" y="2094241"/>
                </a:lnTo>
                <a:lnTo>
                  <a:pt x="69981" y="2058668"/>
                </a:lnTo>
                <a:cubicBezTo>
                  <a:pt x="26743" y="1957159"/>
                  <a:pt x="0" y="1848612"/>
                  <a:pt x="0" y="1757066"/>
                </a:cubicBezTo>
                <a:lnTo>
                  <a:pt x="0" y="173456"/>
                </a:lnTo>
                <a:cubicBezTo>
                  <a:pt x="0" y="59023"/>
                  <a:pt x="41698" y="-1570"/>
                  <a:pt x="105190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E30D08F-F788-58FD-84C1-092AC28946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3952" y="1223149"/>
            <a:ext cx="5904162" cy="50141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6" name="Slide Number Placeholder 5">
            <a:extLst>
              <a:ext uri="{FF2B5EF4-FFF2-40B4-BE49-F238E27FC236}">
                <a16:creationId xmlns:a16="http://schemas.microsoft.com/office/drawing/2014/main" id="{6522F757-6621-1CFE-338A-EC6FC4EEA0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3" name="Text Placeholder 272">
            <a:extLst>
              <a:ext uri="{FF2B5EF4-FFF2-40B4-BE49-F238E27FC236}">
                <a16:creationId xmlns:a16="http://schemas.microsoft.com/office/drawing/2014/main" id="{0A68684A-4D1B-CD2C-3510-FB09CCC7C1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71889"/>
            <a:ext cx="3008278" cy="4979012"/>
          </a:xfrm>
          <a:custGeom>
            <a:avLst/>
            <a:gdLst>
              <a:gd name="connsiteX0" fmla="*/ 2903087 w 3008278"/>
              <a:gd name="connsiteY0" fmla="*/ 31 h 4979012"/>
              <a:gd name="connsiteX1" fmla="*/ 3008278 w 3008278"/>
              <a:gd name="connsiteY1" fmla="*/ 173456 h 4979012"/>
              <a:gd name="connsiteX2" fmla="*/ 3008278 w 3008278"/>
              <a:gd name="connsiteY2" fmla="*/ 1757066 h 4979012"/>
              <a:gd name="connsiteX3" fmla="*/ 2769341 w 3008278"/>
              <a:gd name="connsiteY3" fmla="*/ 2318044 h 4979012"/>
              <a:gd name="connsiteX4" fmla="*/ 0 w 3008278"/>
              <a:gd name="connsiteY4" fmla="*/ 4979012 h 4979012"/>
              <a:gd name="connsiteX5" fmla="*/ 0 w 3008278"/>
              <a:gd name="connsiteY5" fmla="*/ 2740246 h 4979012"/>
              <a:gd name="connsiteX6" fmla="*/ 2769564 w 3008278"/>
              <a:gd name="connsiteY6" fmla="*/ 71887 h 4979012"/>
              <a:gd name="connsiteX7" fmla="*/ 2903087 w 3008278"/>
              <a:gd name="connsiteY7" fmla="*/ 31 h 4979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08278" h="4979012">
                <a:moveTo>
                  <a:pt x="2903087" y="31"/>
                </a:moveTo>
                <a:cubicBezTo>
                  <a:pt x="2966579" y="-1570"/>
                  <a:pt x="3008278" y="59023"/>
                  <a:pt x="3008278" y="173456"/>
                </a:cubicBezTo>
                <a:lnTo>
                  <a:pt x="3008278" y="1757066"/>
                </a:lnTo>
                <a:cubicBezTo>
                  <a:pt x="3008278" y="1940158"/>
                  <a:pt x="2901305" y="2191253"/>
                  <a:pt x="2769341" y="2318044"/>
                </a:cubicBezTo>
                <a:lnTo>
                  <a:pt x="0" y="4979012"/>
                </a:lnTo>
                <a:lnTo>
                  <a:pt x="0" y="2740246"/>
                </a:lnTo>
                <a:lnTo>
                  <a:pt x="2769564" y="71887"/>
                </a:lnTo>
                <a:cubicBezTo>
                  <a:pt x="2819051" y="24342"/>
                  <a:pt x="2864992" y="992"/>
                  <a:pt x="2903087" y="31"/>
                </a:cubicBez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anchor="ctr">
            <a:noAutofit/>
          </a:bodyPr>
          <a:lstStyle>
            <a:lvl1pPr>
              <a:defRPr sz="100">
                <a:solidFill>
                  <a:schemeClr val="accent2"/>
                </a:solidFill>
              </a:defRPr>
            </a:lvl1pPr>
            <a:lvl2pPr>
              <a:defRPr sz="100">
                <a:solidFill>
                  <a:schemeClr val="accent2"/>
                </a:solidFill>
              </a:defRPr>
            </a:lvl2pPr>
            <a:lvl3pPr>
              <a:defRPr sz="100">
                <a:solidFill>
                  <a:schemeClr val="accent2"/>
                </a:solidFill>
              </a:defRPr>
            </a:lvl3pPr>
            <a:lvl4pPr>
              <a:defRPr sz="100">
                <a:solidFill>
                  <a:schemeClr val="accent2"/>
                </a:solidFill>
              </a:defRPr>
            </a:lvl4pPr>
            <a:lvl5pPr algn="ctr">
              <a:defRPr sz="100">
                <a:solidFill>
                  <a:schemeClr val="accent2">
                    <a:alpha val="0"/>
                  </a:schemeClr>
                </a:solidFill>
              </a:defRPr>
            </a:lvl5pPr>
          </a:lstStyle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4" name="Text Placeholder 273">
            <a:extLst>
              <a:ext uri="{FF2B5EF4-FFF2-40B4-BE49-F238E27FC236}">
                <a16:creationId xmlns:a16="http://schemas.microsoft.com/office/drawing/2014/main" id="{9180577A-0F2A-DFC9-F5B4-E28B4EB68E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293095"/>
            <a:ext cx="1581031" cy="2395295"/>
          </a:xfrm>
          <a:custGeom>
            <a:avLst/>
            <a:gdLst>
              <a:gd name="connsiteX0" fmla="*/ 1994280 w 2056324"/>
              <a:gd name="connsiteY0" fmla="*/ 19 h 3115375"/>
              <a:gd name="connsiteX1" fmla="*/ 2056324 w 2056324"/>
              <a:gd name="connsiteY1" fmla="*/ 102309 h 3115375"/>
              <a:gd name="connsiteX2" fmla="*/ 2056324 w 2056324"/>
              <a:gd name="connsiteY2" fmla="*/ 1036357 h 3115375"/>
              <a:gd name="connsiteX3" fmla="*/ 1915394 w 2056324"/>
              <a:gd name="connsiteY3" fmla="*/ 1367234 h 3115375"/>
              <a:gd name="connsiteX4" fmla="*/ 140135 w 2056324"/>
              <a:gd name="connsiteY4" fmla="*/ 3073019 h 3115375"/>
              <a:gd name="connsiteX5" fmla="*/ 2 w 2056324"/>
              <a:gd name="connsiteY5" fmla="*/ 3012980 h 3115375"/>
              <a:gd name="connsiteX6" fmla="*/ 3723 w 2056324"/>
              <a:gd name="connsiteY6" fmla="*/ 2078928 h 3115375"/>
              <a:gd name="connsiteX7" fmla="*/ 145316 w 2056324"/>
              <a:gd name="connsiteY7" fmla="*/ 1747922 h 3115375"/>
              <a:gd name="connsiteX8" fmla="*/ 1915526 w 2056324"/>
              <a:gd name="connsiteY8" fmla="*/ 42401 h 3115375"/>
              <a:gd name="connsiteX9" fmla="*/ 1994280 w 2056324"/>
              <a:gd name="connsiteY9" fmla="*/ 19 h 311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56324" h="3115375">
                <a:moveTo>
                  <a:pt x="1994280" y="19"/>
                </a:moveTo>
                <a:cubicBezTo>
                  <a:pt x="2031729" y="-925"/>
                  <a:pt x="2056324" y="34814"/>
                  <a:pt x="2056324" y="102309"/>
                </a:cubicBezTo>
                <a:lnTo>
                  <a:pt x="2056324" y="1036357"/>
                </a:lnTo>
                <a:cubicBezTo>
                  <a:pt x="2056324" y="1144349"/>
                  <a:pt x="1993229" y="1292451"/>
                  <a:pt x="1915394" y="1367234"/>
                </a:cubicBezTo>
                <a:lnTo>
                  <a:pt x="140135" y="3073019"/>
                </a:lnTo>
                <a:cubicBezTo>
                  <a:pt x="62300" y="3147800"/>
                  <a:pt x="-397" y="3120969"/>
                  <a:pt x="2" y="3012980"/>
                </a:cubicBezTo>
                <a:lnTo>
                  <a:pt x="3723" y="2078928"/>
                </a:lnTo>
                <a:cubicBezTo>
                  <a:pt x="3723" y="1970939"/>
                  <a:pt x="67612" y="1822835"/>
                  <a:pt x="145316" y="1747922"/>
                </a:cubicBezTo>
                <a:lnTo>
                  <a:pt x="1915526" y="42401"/>
                </a:lnTo>
                <a:cubicBezTo>
                  <a:pt x="1944714" y="14358"/>
                  <a:pt x="1971811" y="586"/>
                  <a:pt x="1994280" y="1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accent4">
                    <a:alpha val="0"/>
                  </a:schemeClr>
                </a:solidFill>
              </a:defRPr>
            </a:lvl1pPr>
            <a:lvl2pPr>
              <a:defRPr sz="100">
                <a:solidFill>
                  <a:schemeClr val="accent4">
                    <a:alpha val="0"/>
                  </a:schemeClr>
                </a:solidFill>
              </a:defRPr>
            </a:lvl2pPr>
            <a:lvl3pPr>
              <a:defRPr sz="100">
                <a:solidFill>
                  <a:schemeClr val="accent4">
                    <a:alpha val="0"/>
                  </a:schemeClr>
                </a:solidFill>
              </a:defRPr>
            </a:lvl3pPr>
            <a:lvl4pPr>
              <a:defRPr sz="100">
                <a:solidFill>
                  <a:schemeClr val="accent4">
                    <a:alpha val="0"/>
                  </a:schemeClr>
                </a:solidFill>
              </a:defRPr>
            </a:lvl4pPr>
            <a:lvl5pPr>
              <a:defRPr sz="100">
                <a:solidFill>
                  <a:schemeClr val="accent4">
                    <a:alpha val="0"/>
                  </a:schemeClr>
                </a:solidFill>
              </a:defRPr>
            </a:lvl5pPr>
          </a:lstStyle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CE16DFF-A34B-DDDB-C64E-BC4807918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386" y="332657"/>
            <a:ext cx="5892296" cy="75669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55560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Text Placeholder 274">
            <a:extLst>
              <a:ext uri="{FF2B5EF4-FFF2-40B4-BE49-F238E27FC236}">
                <a16:creationId xmlns:a16="http://schemas.microsoft.com/office/drawing/2014/main" id="{5C4F1F97-E65D-A420-9EA6-EEDF7BE680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39011" y="251884"/>
            <a:ext cx="3952991" cy="6606117"/>
          </a:xfrm>
          <a:custGeom>
            <a:avLst/>
            <a:gdLst>
              <a:gd name="connsiteX0" fmla="*/ 3952991 w 3952991"/>
              <a:gd name="connsiteY0" fmla="*/ 0 h 6606117"/>
              <a:gd name="connsiteX1" fmla="*/ 3952991 w 3952991"/>
              <a:gd name="connsiteY1" fmla="*/ 3536651 h 6606117"/>
              <a:gd name="connsiteX2" fmla="*/ 3952991 w 3952991"/>
              <a:gd name="connsiteY2" fmla="*/ 6606117 h 6606117"/>
              <a:gd name="connsiteX3" fmla="*/ 0 w 3952991"/>
              <a:gd name="connsiteY3" fmla="*/ 6606117 h 6606117"/>
              <a:gd name="connsiteX4" fmla="*/ 9106 w 3952991"/>
              <a:gd name="connsiteY4" fmla="*/ 4319713 h 6606117"/>
              <a:gd name="connsiteX5" fmla="*/ 387448 w 3952991"/>
              <a:gd name="connsiteY5" fmla="*/ 3435252 h 6606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2991" h="6606117">
                <a:moveTo>
                  <a:pt x="3952991" y="0"/>
                </a:moveTo>
                <a:lnTo>
                  <a:pt x="3952991" y="3536651"/>
                </a:lnTo>
                <a:lnTo>
                  <a:pt x="3952991" y="6606117"/>
                </a:lnTo>
                <a:lnTo>
                  <a:pt x="0" y="6606117"/>
                </a:lnTo>
                <a:lnTo>
                  <a:pt x="9106" y="4319713"/>
                </a:lnTo>
                <a:cubicBezTo>
                  <a:pt x="9106" y="4031162"/>
                  <a:pt x="179820" y="3635422"/>
                  <a:pt x="387448" y="3435252"/>
                </a:cubicBezTo>
                <a:close/>
              </a:path>
            </a:pathLst>
          </a:custGeom>
          <a:solidFill>
            <a:srgbClr val="F07E26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76" name="Slide Number Placeholder 5">
            <a:extLst>
              <a:ext uri="{FF2B5EF4-FFF2-40B4-BE49-F238E27FC236}">
                <a16:creationId xmlns:a16="http://schemas.microsoft.com/office/drawing/2014/main" id="{6522F757-6621-1CFE-338A-EC6FC4EEA0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3" name="Text Placeholder 16">
            <a:extLst>
              <a:ext uri="{FF2B5EF4-FFF2-40B4-BE49-F238E27FC236}">
                <a16:creationId xmlns:a16="http://schemas.microsoft.com/office/drawing/2014/main" id="{FE741B7C-1877-C14A-65A1-B5A7A0F0BA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1223149"/>
            <a:ext cx="7085111" cy="50141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4" name="Title 6">
            <a:extLst>
              <a:ext uri="{FF2B5EF4-FFF2-40B4-BE49-F238E27FC236}">
                <a16:creationId xmlns:a16="http://schemas.microsoft.com/office/drawing/2014/main" id="{F153063D-FAFB-D531-4E8A-CD5CE1D20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66" y="332657"/>
            <a:ext cx="7070872" cy="75669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76" name="Text Placeholder 275">
            <a:extLst>
              <a:ext uri="{FF2B5EF4-FFF2-40B4-BE49-F238E27FC236}">
                <a16:creationId xmlns:a16="http://schemas.microsoft.com/office/drawing/2014/main" id="{01A522C6-5F9C-369D-76E7-540BC24E3DC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434450" y="586169"/>
            <a:ext cx="1757550" cy="3862863"/>
          </a:xfrm>
          <a:custGeom>
            <a:avLst/>
            <a:gdLst>
              <a:gd name="connsiteX0" fmla="*/ 108677 w 1757550"/>
              <a:gd name="connsiteY0" fmla="*/ 30 h 3862863"/>
              <a:gd name="connsiteX1" fmla="*/ 247691 w 1757550"/>
              <a:gd name="connsiteY1" fmla="*/ 74865 h 3862863"/>
              <a:gd name="connsiteX2" fmla="*/ 1757550 w 1757550"/>
              <a:gd name="connsiteY2" fmla="*/ 1525639 h 3862863"/>
              <a:gd name="connsiteX3" fmla="*/ 1757550 w 1757550"/>
              <a:gd name="connsiteY3" fmla="*/ 3862863 h 3862863"/>
              <a:gd name="connsiteX4" fmla="*/ 256848 w 1757550"/>
              <a:gd name="connsiteY4" fmla="*/ 2416999 h 3862863"/>
              <a:gd name="connsiteX5" fmla="*/ 6579 w 1757550"/>
              <a:gd name="connsiteY5" fmla="*/ 1831940 h 3862863"/>
              <a:gd name="connsiteX6" fmla="*/ 4 w 1757550"/>
              <a:gd name="connsiteY6" fmla="*/ 180987 h 3862863"/>
              <a:gd name="connsiteX7" fmla="*/ 71992 w 1757550"/>
              <a:gd name="connsiteY7" fmla="*/ 6783 h 3862863"/>
              <a:gd name="connsiteX8" fmla="*/ 108677 w 1757550"/>
              <a:gd name="connsiteY8" fmla="*/ 30 h 386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57550" h="3862863">
                <a:moveTo>
                  <a:pt x="108677" y="30"/>
                </a:moveTo>
                <a:cubicBezTo>
                  <a:pt x="148272" y="989"/>
                  <a:pt x="196100" y="25299"/>
                  <a:pt x="247691" y="74865"/>
                </a:cubicBezTo>
                <a:lnTo>
                  <a:pt x="1757550" y="1525639"/>
                </a:lnTo>
                <a:lnTo>
                  <a:pt x="1757550" y="3862863"/>
                </a:lnTo>
                <a:lnTo>
                  <a:pt x="256848" y="2416999"/>
                </a:lnTo>
                <a:cubicBezTo>
                  <a:pt x="119505" y="2284590"/>
                  <a:pt x="6579" y="2022812"/>
                  <a:pt x="6579" y="1831940"/>
                </a:cubicBezTo>
                <a:lnTo>
                  <a:pt x="4" y="180987"/>
                </a:lnTo>
                <a:cubicBezTo>
                  <a:pt x="-348" y="85550"/>
                  <a:pt x="27179" y="25976"/>
                  <a:pt x="71992" y="6783"/>
                </a:cubicBezTo>
                <a:cubicBezTo>
                  <a:pt x="83195" y="1985"/>
                  <a:pt x="95479" y="-290"/>
                  <a:pt x="108677" y="30"/>
                </a:cubicBez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 b="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75" name="Picture Placeholder 174">
            <a:extLst>
              <a:ext uri="{FF2B5EF4-FFF2-40B4-BE49-F238E27FC236}">
                <a16:creationId xmlns:a16="http://schemas.microsoft.com/office/drawing/2014/main" id="{C8DB182E-FFC4-114D-A745-513657A198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572858" y="353298"/>
            <a:ext cx="3634587" cy="5506483"/>
          </a:xfrm>
          <a:custGeom>
            <a:avLst/>
            <a:gdLst>
              <a:gd name="connsiteX0" fmla="*/ 108677 w 3634587"/>
              <a:gd name="connsiteY0" fmla="*/ 30 h 5506483"/>
              <a:gd name="connsiteX1" fmla="*/ 247691 w 3634587"/>
              <a:gd name="connsiteY1" fmla="*/ 74865 h 5506483"/>
              <a:gd name="connsiteX2" fmla="*/ 3385489 w 3634587"/>
              <a:gd name="connsiteY2" fmla="*/ 3089872 h 5506483"/>
              <a:gd name="connsiteX3" fmla="*/ 3634587 w 3634587"/>
              <a:gd name="connsiteY3" fmla="*/ 3674704 h 5506483"/>
              <a:gd name="connsiteX4" fmla="*/ 3634587 w 3634587"/>
              <a:gd name="connsiteY4" fmla="*/ 5325652 h 5506483"/>
              <a:gd name="connsiteX5" fmla="*/ 3385723 w 3634587"/>
              <a:gd name="connsiteY5" fmla="*/ 5431540 h 5506483"/>
              <a:gd name="connsiteX6" fmla="*/ 256848 w 3634587"/>
              <a:gd name="connsiteY6" fmla="*/ 2416999 h 5506483"/>
              <a:gd name="connsiteX7" fmla="*/ 6579 w 3634587"/>
              <a:gd name="connsiteY7" fmla="*/ 1831940 h 5506483"/>
              <a:gd name="connsiteX8" fmla="*/ 4 w 3634587"/>
              <a:gd name="connsiteY8" fmla="*/ 180987 h 5506483"/>
              <a:gd name="connsiteX9" fmla="*/ 108677 w 3634587"/>
              <a:gd name="connsiteY9" fmla="*/ 30 h 5506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34587" h="5506483">
                <a:moveTo>
                  <a:pt x="108677" y="30"/>
                </a:moveTo>
                <a:cubicBezTo>
                  <a:pt x="148272" y="989"/>
                  <a:pt x="196100" y="25299"/>
                  <a:pt x="247691" y="74865"/>
                </a:cubicBezTo>
                <a:lnTo>
                  <a:pt x="3385489" y="3089872"/>
                </a:lnTo>
                <a:cubicBezTo>
                  <a:pt x="3523065" y="3222054"/>
                  <a:pt x="3634587" y="3483826"/>
                  <a:pt x="3634587" y="3674704"/>
                </a:cubicBezTo>
                <a:lnTo>
                  <a:pt x="3634587" y="5325652"/>
                </a:lnTo>
                <a:cubicBezTo>
                  <a:pt x="3634587" y="5516530"/>
                  <a:pt x="3523299" y="5563717"/>
                  <a:pt x="3385723" y="5431540"/>
                </a:cubicBezTo>
                <a:lnTo>
                  <a:pt x="256848" y="2416999"/>
                </a:lnTo>
                <a:cubicBezTo>
                  <a:pt x="119505" y="2284590"/>
                  <a:pt x="6579" y="2022812"/>
                  <a:pt x="6579" y="1831940"/>
                </a:cubicBezTo>
                <a:lnTo>
                  <a:pt x="4" y="180987"/>
                </a:lnTo>
                <a:cubicBezTo>
                  <a:pt x="-437" y="61691"/>
                  <a:pt x="42686" y="-1570"/>
                  <a:pt x="108677" y="3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82" name="Picture Placeholder 181">
            <a:extLst>
              <a:ext uri="{FF2B5EF4-FFF2-40B4-BE49-F238E27FC236}">
                <a16:creationId xmlns:a16="http://schemas.microsoft.com/office/drawing/2014/main" id="{5F0494F4-61BF-0CAE-EF1E-9F19E95E2C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1540909" y="1787732"/>
            <a:ext cx="666536" cy="1767448"/>
          </a:xfrm>
          <a:custGeom>
            <a:avLst/>
            <a:gdLst>
              <a:gd name="connsiteX0" fmla="*/ 666536 w 666536"/>
              <a:gd name="connsiteY0" fmla="*/ 0 h 1767448"/>
              <a:gd name="connsiteX1" fmla="*/ 666536 w 666536"/>
              <a:gd name="connsiteY1" fmla="*/ 1211608 h 1767448"/>
              <a:gd name="connsiteX2" fmla="*/ 128469 w 666536"/>
              <a:gd name="connsiteY2" fmla="*/ 1728619 h 1767448"/>
              <a:gd name="connsiteX3" fmla="*/ 2 w 666536"/>
              <a:gd name="connsiteY3" fmla="*/ 1673577 h 1767448"/>
              <a:gd name="connsiteX4" fmla="*/ 3413 w 666536"/>
              <a:gd name="connsiteY4" fmla="*/ 817280 h 1767448"/>
              <a:gd name="connsiteX5" fmla="*/ 133219 w 666536"/>
              <a:gd name="connsiteY5" fmla="*/ 513829 h 176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6536" h="1767448">
                <a:moveTo>
                  <a:pt x="666536" y="0"/>
                </a:moveTo>
                <a:lnTo>
                  <a:pt x="666536" y="1211608"/>
                </a:lnTo>
                <a:lnTo>
                  <a:pt x="128469" y="1728619"/>
                </a:lnTo>
                <a:cubicBezTo>
                  <a:pt x="57113" y="1797174"/>
                  <a:pt x="-364" y="1772576"/>
                  <a:pt x="2" y="1673577"/>
                </a:cubicBezTo>
                <a:lnTo>
                  <a:pt x="3413" y="817280"/>
                </a:lnTo>
                <a:cubicBezTo>
                  <a:pt x="3413" y="718281"/>
                  <a:pt x="61983" y="582505"/>
                  <a:pt x="133219" y="51382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l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8" name="Picture Placeholder 177">
            <a:extLst>
              <a:ext uri="{FF2B5EF4-FFF2-40B4-BE49-F238E27FC236}">
                <a16:creationId xmlns:a16="http://schemas.microsoft.com/office/drawing/2014/main" id="{C6C9A0FA-8556-275A-2BBA-2E78B696561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 rot="10800000" flipV="1">
            <a:off x="7674397" y="3408318"/>
            <a:ext cx="3743174" cy="3441037"/>
          </a:xfrm>
          <a:custGeom>
            <a:avLst/>
            <a:gdLst>
              <a:gd name="connsiteX0" fmla="*/ 119273 w 3743174"/>
              <a:gd name="connsiteY0" fmla="*/ 36 h 3441037"/>
              <a:gd name="connsiteX1" fmla="*/ 0 w 3743174"/>
              <a:gd name="connsiteY1" fmla="*/ 196679 h 3441037"/>
              <a:gd name="connsiteX2" fmla="*/ 0 w 3743174"/>
              <a:gd name="connsiteY2" fmla="*/ 1992304 h 3441037"/>
              <a:gd name="connsiteX3" fmla="*/ 270926 w 3743174"/>
              <a:gd name="connsiteY3" fmla="*/ 2628386 h 3441037"/>
              <a:gd name="connsiteX4" fmla="*/ 1116674 w 3743174"/>
              <a:gd name="connsiteY4" fmla="*/ 3441037 h 3441037"/>
              <a:gd name="connsiteX5" fmla="*/ 3743174 w 3743174"/>
              <a:gd name="connsiteY5" fmla="*/ 3441037 h 3441037"/>
              <a:gd name="connsiteX6" fmla="*/ 3728321 w 3743174"/>
              <a:gd name="connsiteY6" fmla="*/ 3420399 h 3441037"/>
              <a:gd name="connsiteX7" fmla="*/ 3673737 w 3743174"/>
              <a:gd name="connsiteY7" fmla="*/ 3360224 h 3441037"/>
              <a:gd name="connsiteX8" fmla="*/ 270672 w 3743174"/>
              <a:gd name="connsiteY8" fmla="*/ 81512 h 3441037"/>
              <a:gd name="connsiteX9" fmla="*/ 119273 w 3743174"/>
              <a:gd name="connsiteY9" fmla="*/ 36 h 3441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743174" h="3441037">
                <a:moveTo>
                  <a:pt x="119273" y="36"/>
                </a:moveTo>
                <a:cubicBezTo>
                  <a:pt x="47281" y="-1779"/>
                  <a:pt x="0" y="66926"/>
                  <a:pt x="0" y="196679"/>
                </a:cubicBezTo>
                <a:lnTo>
                  <a:pt x="0" y="1992304"/>
                </a:lnTo>
                <a:cubicBezTo>
                  <a:pt x="0" y="2199909"/>
                  <a:pt x="121294" y="2484621"/>
                  <a:pt x="270926" y="2628386"/>
                </a:cubicBezTo>
                <a:lnTo>
                  <a:pt x="1116674" y="3441037"/>
                </a:lnTo>
                <a:lnTo>
                  <a:pt x="3743174" y="3441037"/>
                </a:lnTo>
                <a:lnTo>
                  <a:pt x="3728321" y="3420399"/>
                </a:lnTo>
                <a:cubicBezTo>
                  <a:pt x="3710666" y="3398426"/>
                  <a:pt x="3692409" y="3378226"/>
                  <a:pt x="3673737" y="3360224"/>
                </a:cubicBezTo>
                <a:lnTo>
                  <a:pt x="270672" y="81512"/>
                </a:lnTo>
                <a:cubicBezTo>
                  <a:pt x="214560" y="27602"/>
                  <a:pt x="162469" y="1126"/>
                  <a:pt x="119273" y="36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67492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B40599C-4C0F-475E-A2C1-B16A0CE59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2525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B40599C-4C0F-475E-A2C1-B16A0CE59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B38E3F0-4CB0-47F9-A7A7-F370395980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2"/>
            <a:ext cx="4888254" cy="6857999"/>
          </a:xfrm>
          <a:custGeom>
            <a:avLst/>
            <a:gdLst>
              <a:gd name="connsiteX0" fmla="*/ 3424860 w 4888254"/>
              <a:gd name="connsiteY0" fmla="*/ 0 h 6857999"/>
              <a:gd name="connsiteX1" fmla="*/ 4888254 w 4888254"/>
              <a:gd name="connsiteY1" fmla="*/ 0 h 6857999"/>
              <a:gd name="connsiteX2" fmla="*/ 4888254 w 4888254"/>
              <a:gd name="connsiteY2" fmla="*/ 5609609 h 6857999"/>
              <a:gd name="connsiteX3" fmla="*/ 4639839 w 4888254"/>
              <a:gd name="connsiteY3" fmla="*/ 6194112 h 6857999"/>
              <a:gd name="connsiteX4" fmla="*/ 3951970 w 4888254"/>
              <a:gd name="connsiteY4" fmla="*/ 6857999 h 6857999"/>
              <a:gd name="connsiteX5" fmla="*/ 0 w 4888254"/>
              <a:gd name="connsiteY5" fmla="*/ 6857999 h 6857999"/>
              <a:gd name="connsiteX6" fmla="*/ 0 w 4888254"/>
              <a:gd name="connsiteY6" fmla="*/ 331425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88254" h="6857999">
                <a:moveTo>
                  <a:pt x="3424860" y="0"/>
                </a:moveTo>
                <a:lnTo>
                  <a:pt x="4888254" y="0"/>
                </a:lnTo>
                <a:lnTo>
                  <a:pt x="4888254" y="5609609"/>
                </a:lnTo>
                <a:cubicBezTo>
                  <a:pt x="4888254" y="5800303"/>
                  <a:pt x="4776955" y="6062110"/>
                  <a:pt x="4639839" y="6194112"/>
                </a:cubicBezTo>
                <a:lnTo>
                  <a:pt x="3951970" y="6857999"/>
                </a:lnTo>
                <a:lnTo>
                  <a:pt x="0" y="6857999"/>
                </a:lnTo>
                <a:lnTo>
                  <a:pt x="0" y="3314259"/>
                </a:lnTo>
                <a:close/>
              </a:path>
            </a:pathLst>
          </a:custGeom>
          <a:solidFill>
            <a:schemeClr val="tx2">
              <a:alpha val="54902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CF89D1-5F6C-4FE0-93BA-66FADB691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C02EBC26-BEE1-47AE-8EA9-C652E92164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0"/>
            <a:ext cx="1593121" cy="2779244"/>
          </a:xfrm>
          <a:custGeom>
            <a:avLst/>
            <a:gdLst>
              <a:gd name="connsiteX0" fmla="*/ 453341 w 1593121"/>
              <a:gd name="connsiteY0" fmla="*/ 0 h 2779244"/>
              <a:gd name="connsiteX1" fmla="*/ 1593121 w 1593121"/>
              <a:gd name="connsiteY1" fmla="*/ 0 h 2779244"/>
              <a:gd name="connsiteX2" fmla="*/ 1593121 w 1593121"/>
              <a:gd name="connsiteY2" fmla="*/ 879158 h 2779244"/>
              <a:gd name="connsiteX3" fmla="*/ 1346047 w 1593121"/>
              <a:gd name="connsiteY3" fmla="*/ 1465365 h 2779244"/>
              <a:gd name="connsiteX4" fmla="*/ 0 w 1593121"/>
              <a:gd name="connsiteY4" fmla="*/ 2779244 h 2779244"/>
              <a:gd name="connsiteX5" fmla="*/ 0 w 1593121"/>
              <a:gd name="connsiteY5" fmla="*/ 443589 h 2779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93121" h="2779244">
                <a:moveTo>
                  <a:pt x="453341" y="0"/>
                </a:moveTo>
                <a:lnTo>
                  <a:pt x="1593121" y="0"/>
                </a:lnTo>
                <a:lnTo>
                  <a:pt x="1593121" y="879158"/>
                </a:lnTo>
                <a:cubicBezTo>
                  <a:pt x="1593121" y="1069731"/>
                  <a:pt x="1482554" y="1332270"/>
                  <a:pt x="1346047" y="1465365"/>
                </a:cubicBezTo>
                <a:lnTo>
                  <a:pt x="0" y="2779244"/>
                </a:lnTo>
                <a:lnTo>
                  <a:pt x="0" y="443589"/>
                </a:lnTo>
                <a:close/>
              </a:path>
            </a:pathLst>
          </a:custGeom>
          <a:solidFill>
            <a:schemeClr val="accent4">
              <a:alpha val="54902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9" name="Picture Placeholder 48">
            <a:extLst>
              <a:ext uri="{FF2B5EF4-FFF2-40B4-BE49-F238E27FC236}">
                <a16:creationId xmlns:a16="http://schemas.microsoft.com/office/drawing/2014/main" id="{01C3D4F7-C5D7-45D6-A953-603325CA008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828129" y="3913258"/>
            <a:ext cx="3184894" cy="2944742"/>
          </a:xfrm>
          <a:custGeom>
            <a:avLst/>
            <a:gdLst>
              <a:gd name="connsiteX0" fmla="*/ 107776 w 3184894"/>
              <a:gd name="connsiteY0" fmla="*/ 52 h 2944742"/>
              <a:gd name="connsiteX1" fmla="*/ 245616 w 3184894"/>
              <a:gd name="connsiteY1" fmla="*/ 75939 h 2944742"/>
              <a:gd name="connsiteX2" fmla="*/ 3184894 w 3184894"/>
              <a:gd name="connsiteY2" fmla="*/ 2944742 h 2944742"/>
              <a:gd name="connsiteX3" fmla="*/ 794844 w 3184894"/>
              <a:gd name="connsiteY3" fmla="*/ 2944742 h 2944742"/>
              <a:gd name="connsiteX4" fmla="*/ 254869 w 3184894"/>
              <a:gd name="connsiteY4" fmla="*/ 2416383 h 2944742"/>
              <a:gd name="connsiteX5" fmla="*/ 6701 w 3184894"/>
              <a:gd name="connsiteY5" fmla="*/ 1829689 h 2944742"/>
              <a:gd name="connsiteX6" fmla="*/ 4 w 3184894"/>
              <a:gd name="connsiteY6" fmla="*/ 179932 h 2944742"/>
              <a:gd name="connsiteX7" fmla="*/ 107776 w 3184894"/>
              <a:gd name="connsiteY7" fmla="*/ 52 h 2944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84894" h="2944742">
                <a:moveTo>
                  <a:pt x="107776" y="52"/>
                </a:moveTo>
                <a:cubicBezTo>
                  <a:pt x="147044" y="1318"/>
                  <a:pt x="194472" y="25982"/>
                  <a:pt x="245616" y="75939"/>
                </a:cubicBezTo>
                <a:lnTo>
                  <a:pt x="3184894" y="2944742"/>
                </a:lnTo>
                <a:lnTo>
                  <a:pt x="794844" y="2944742"/>
                </a:lnTo>
                <a:lnTo>
                  <a:pt x="254869" y="2416383"/>
                </a:lnTo>
                <a:cubicBezTo>
                  <a:pt x="118607" y="2283045"/>
                  <a:pt x="7553" y="2020383"/>
                  <a:pt x="6701" y="1829689"/>
                </a:cubicBezTo>
                <a:lnTo>
                  <a:pt x="4" y="179932"/>
                </a:lnTo>
                <a:cubicBezTo>
                  <a:pt x="-453" y="60824"/>
                  <a:pt x="42329" y="-2059"/>
                  <a:pt x="107776" y="5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1" name="Picture Placeholder 130">
            <a:extLst>
              <a:ext uri="{FF2B5EF4-FFF2-40B4-BE49-F238E27FC236}">
                <a16:creationId xmlns:a16="http://schemas.microsoft.com/office/drawing/2014/main" id="{1FF734AA-F776-AE1C-57B9-EDE4DFEF58C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306596" y="1829774"/>
            <a:ext cx="1885144" cy="2856036"/>
          </a:xfrm>
          <a:custGeom>
            <a:avLst/>
            <a:gdLst>
              <a:gd name="connsiteX0" fmla="*/ 1828265 w 1885144"/>
              <a:gd name="connsiteY0" fmla="*/ 17 h 2856036"/>
              <a:gd name="connsiteX1" fmla="*/ 1885144 w 1885144"/>
              <a:gd name="connsiteY1" fmla="*/ 93791 h 2856036"/>
              <a:gd name="connsiteX2" fmla="*/ 1885144 w 1885144"/>
              <a:gd name="connsiteY2" fmla="*/ 950086 h 2856036"/>
              <a:gd name="connsiteX3" fmla="*/ 1755945 w 1885144"/>
              <a:gd name="connsiteY3" fmla="*/ 1253419 h 2856036"/>
              <a:gd name="connsiteX4" fmla="*/ 128470 w 1885144"/>
              <a:gd name="connsiteY4" fmla="*/ 2817207 h 2856036"/>
              <a:gd name="connsiteX5" fmla="*/ 2 w 1885144"/>
              <a:gd name="connsiteY5" fmla="*/ 2762165 h 2856036"/>
              <a:gd name="connsiteX6" fmla="*/ 3413 w 1885144"/>
              <a:gd name="connsiteY6" fmla="*/ 1905868 h 2856036"/>
              <a:gd name="connsiteX7" fmla="*/ 133219 w 1885144"/>
              <a:gd name="connsiteY7" fmla="*/ 1602417 h 2856036"/>
              <a:gd name="connsiteX8" fmla="*/ 1756066 w 1885144"/>
              <a:gd name="connsiteY8" fmla="*/ 38871 h 2856036"/>
              <a:gd name="connsiteX9" fmla="*/ 1828265 w 1885144"/>
              <a:gd name="connsiteY9" fmla="*/ 17 h 2856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85144" h="2856036">
                <a:moveTo>
                  <a:pt x="1828265" y="17"/>
                </a:moveTo>
                <a:cubicBezTo>
                  <a:pt x="1862597" y="-849"/>
                  <a:pt x="1885144" y="31915"/>
                  <a:pt x="1885144" y="93791"/>
                </a:cubicBezTo>
                <a:lnTo>
                  <a:pt x="1885144" y="950086"/>
                </a:lnTo>
                <a:cubicBezTo>
                  <a:pt x="1885144" y="1049088"/>
                  <a:pt x="1827302" y="1184861"/>
                  <a:pt x="1755945" y="1253419"/>
                </a:cubicBezTo>
                <a:lnTo>
                  <a:pt x="128470" y="2817207"/>
                </a:lnTo>
                <a:cubicBezTo>
                  <a:pt x="57113" y="2885762"/>
                  <a:pt x="-363" y="2861164"/>
                  <a:pt x="2" y="2762165"/>
                </a:cubicBezTo>
                <a:lnTo>
                  <a:pt x="3413" y="1905868"/>
                </a:lnTo>
                <a:cubicBezTo>
                  <a:pt x="3413" y="1806869"/>
                  <a:pt x="61983" y="1671093"/>
                  <a:pt x="133219" y="1602417"/>
                </a:cubicBezTo>
                <a:lnTo>
                  <a:pt x="1756066" y="38871"/>
                </a:lnTo>
                <a:cubicBezTo>
                  <a:pt x="1782825" y="13162"/>
                  <a:pt x="1807666" y="536"/>
                  <a:pt x="1828265" y="1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2" name="Text Placeholder 16">
            <a:extLst>
              <a:ext uri="{FF2B5EF4-FFF2-40B4-BE49-F238E27FC236}">
                <a16:creationId xmlns:a16="http://schemas.microsoft.com/office/drawing/2014/main" id="{56776858-6732-0BF4-EA80-58C93223F4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31904" y="1217099"/>
            <a:ext cx="6336210" cy="50201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3" name="Title 6">
            <a:extLst>
              <a:ext uri="{FF2B5EF4-FFF2-40B4-BE49-F238E27FC236}">
                <a16:creationId xmlns:a16="http://schemas.microsoft.com/office/drawing/2014/main" id="{ADC5C114-920C-48D9-F9B6-D1474B9FC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3206" y="332657"/>
            <a:ext cx="6323476" cy="7460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25529F9-1762-4811-BF8A-E21EE766E2E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" y="3596812"/>
            <a:ext cx="3340898" cy="3261189"/>
          </a:xfrm>
          <a:custGeom>
            <a:avLst/>
            <a:gdLst>
              <a:gd name="connsiteX0" fmla="*/ 0 w 2283321"/>
              <a:gd name="connsiteY0" fmla="*/ 0 h 2228844"/>
              <a:gd name="connsiteX1" fmla="*/ 2283321 w 2283321"/>
              <a:gd name="connsiteY1" fmla="*/ 2228844 h 2228844"/>
              <a:gd name="connsiteX2" fmla="*/ 0 w 2283321"/>
              <a:gd name="connsiteY2" fmla="*/ 2228844 h 2228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83321" h="2228844">
                <a:moveTo>
                  <a:pt x="0" y="0"/>
                </a:moveTo>
                <a:lnTo>
                  <a:pt x="2283321" y="2228844"/>
                </a:lnTo>
                <a:lnTo>
                  <a:pt x="0" y="2228844"/>
                </a:lnTo>
                <a:close/>
              </a:path>
            </a:pathLst>
          </a:custGeom>
          <a:solidFill>
            <a:srgbClr val="005191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FE2BE2B0-A440-49C5-8CD8-55E98E2A3D7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292099"/>
            <a:ext cx="2248981" cy="4369630"/>
          </a:xfrm>
          <a:custGeom>
            <a:avLst/>
            <a:gdLst>
              <a:gd name="connsiteX0" fmla="*/ 2140214 w 2248981"/>
              <a:gd name="connsiteY0" fmla="*/ 56 h 4369630"/>
              <a:gd name="connsiteX1" fmla="*/ 2248981 w 2248981"/>
              <a:gd name="connsiteY1" fmla="*/ 179856 h 4369630"/>
              <a:gd name="connsiteX2" fmla="*/ 2248981 w 2248981"/>
              <a:gd name="connsiteY2" fmla="*/ 1829126 h 4369630"/>
              <a:gd name="connsiteX3" fmla="*/ 2001907 w 2248981"/>
              <a:gd name="connsiteY3" fmla="*/ 2415334 h 4369630"/>
              <a:gd name="connsiteX4" fmla="*/ 0 w 2248981"/>
              <a:gd name="connsiteY4" fmla="*/ 4369630 h 4369630"/>
              <a:gd name="connsiteX5" fmla="*/ 0 w 2248981"/>
              <a:gd name="connsiteY5" fmla="*/ 2035309 h 4369630"/>
              <a:gd name="connsiteX6" fmla="*/ 2002273 w 2248981"/>
              <a:gd name="connsiteY6" fmla="*/ 76107 h 4369630"/>
              <a:gd name="connsiteX7" fmla="*/ 2140214 w 2248981"/>
              <a:gd name="connsiteY7" fmla="*/ 56 h 4369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48981" h="4369630">
                <a:moveTo>
                  <a:pt x="2140214" y="56"/>
                </a:moveTo>
                <a:cubicBezTo>
                  <a:pt x="2205838" y="-2145"/>
                  <a:pt x="2248981" y="60672"/>
                  <a:pt x="2248981" y="179856"/>
                </a:cubicBezTo>
                <a:lnTo>
                  <a:pt x="2248981" y="1829126"/>
                </a:lnTo>
                <a:cubicBezTo>
                  <a:pt x="2248981" y="2019699"/>
                  <a:pt x="2138290" y="2282238"/>
                  <a:pt x="2001907" y="2415334"/>
                </a:cubicBezTo>
                <a:lnTo>
                  <a:pt x="0" y="4369630"/>
                </a:lnTo>
                <a:lnTo>
                  <a:pt x="0" y="2035309"/>
                </a:lnTo>
                <a:lnTo>
                  <a:pt x="2002273" y="76107"/>
                </a:lnTo>
                <a:cubicBezTo>
                  <a:pt x="2053371" y="26104"/>
                  <a:pt x="2100839" y="1377"/>
                  <a:pt x="2140214" y="5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795292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Text Placeholder 122">
            <a:extLst>
              <a:ext uri="{FF2B5EF4-FFF2-40B4-BE49-F238E27FC236}">
                <a16:creationId xmlns:a16="http://schemas.microsoft.com/office/drawing/2014/main" id="{75D1C29E-CD31-88C7-C4B4-E2C662F8B7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67288" y="0"/>
            <a:ext cx="6224712" cy="6858000"/>
          </a:xfrm>
          <a:custGeom>
            <a:avLst/>
            <a:gdLst>
              <a:gd name="connsiteX0" fmla="*/ 4864803 w 6224712"/>
              <a:gd name="connsiteY0" fmla="*/ 0 h 6858000"/>
              <a:gd name="connsiteX1" fmla="*/ 6224712 w 6224712"/>
              <a:gd name="connsiteY1" fmla="*/ 0 h 6858000"/>
              <a:gd name="connsiteX2" fmla="*/ 6224712 w 6224712"/>
              <a:gd name="connsiteY2" fmla="*/ 4020623 h 6858000"/>
              <a:gd name="connsiteX3" fmla="*/ 3271778 w 6224712"/>
              <a:gd name="connsiteY3" fmla="*/ 6858000 h 6858000"/>
              <a:gd name="connsiteX4" fmla="*/ 0 w 6224712"/>
              <a:gd name="connsiteY4" fmla="*/ 6858000 h 6858000"/>
              <a:gd name="connsiteX5" fmla="*/ 5547 w 6224712"/>
              <a:gd name="connsiteY5" fmla="*/ 5465306 h 6858000"/>
              <a:gd name="connsiteX6" fmla="*/ 575750 w 6224712"/>
              <a:gd name="connsiteY6" fmla="*/ 41323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24712" h="6858000">
                <a:moveTo>
                  <a:pt x="4864803" y="0"/>
                </a:moveTo>
                <a:lnTo>
                  <a:pt x="6224712" y="0"/>
                </a:lnTo>
                <a:lnTo>
                  <a:pt x="6224712" y="4020623"/>
                </a:lnTo>
                <a:lnTo>
                  <a:pt x="3271778" y="6858000"/>
                </a:lnTo>
                <a:lnTo>
                  <a:pt x="0" y="6858000"/>
                </a:lnTo>
                <a:lnTo>
                  <a:pt x="5547" y="5465306"/>
                </a:lnTo>
                <a:cubicBezTo>
                  <a:pt x="5547" y="5030428"/>
                  <a:pt x="262832" y="4434003"/>
                  <a:pt x="575750" y="4132325"/>
                </a:cubicBezTo>
                <a:close/>
              </a:path>
            </a:pathLst>
          </a:custGeom>
          <a:solidFill>
            <a:srgbClr val="97BE0D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97BE0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9FA2495-A1D5-359D-3A4C-B8E3D87793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64444" y="485524"/>
            <a:ext cx="3406083" cy="5160295"/>
          </a:xfrm>
          <a:custGeom>
            <a:avLst/>
            <a:gdLst>
              <a:gd name="connsiteX0" fmla="*/ 3303314 w 3406083"/>
              <a:gd name="connsiteY0" fmla="*/ 31 h 5160295"/>
              <a:gd name="connsiteX1" fmla="*/ 3406083 w 3406083"/>
              <a:gd name="connsiteY1" fmla="*/ 169464 h 5160295"/>
              <a:gd name="connsiteX2" fmla="*/ 3406083 w 3406083"/>
              <a:gd name="connsiteY2" fmla="*/ 1716618 h 5160295"/>
              <a:gd name="connsiteX3" fmla="*/ 3172646 w 3406083"/>
              <a:gd name="connsiteY3" fmla="*/ 2264681 h 5160295"/>
              <a:gd name="connsiteX4" fmla="*/ 232119 w 3406083"/>
              <a:gd name="connsiteY4" fmla="*/ 5090137 h 5160295"/>
              <a:gd name="connsiteX5" fmla="*/ 4 w 3406083"/>
              <a:gd name="connsiteY5" fmla="*/ 4990687 h 5160295"/>
              <a:gd name="connsiteX6" fmla="*/ 6166 w 3406083"/>
              <a:gd name="connsiteY6" fmla="*/ 3443528 h 5160295"/>
              <a:gd name="connsiteX7" fmla="*/ 240700 w 3406083"/>
              <a:gd name="connsiteY7" fmla="*/ 2895251 h 5160295"/>
              <a:gd name="connsiteX8" fmla="*/ 3172865 w 3406083"/>
              <a:gd name="connsiteY8" fmla="*/ 70233 h 5160295"/>
              <a:gd name="connsiteX9" fmla="*/ 3303314 w 3406083"/>
              <a:gd name="connsiteY9" fmla="*/ 31 h 5160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6083" h="5160295">
                <a:moveTo>
                  <a:pt x="3303314" y="31"/>
                </a:moveTo>
                <a:cubicBezTo>
                  <a:pt x="3365344" y="-1533"/>
                  <a:pt x="3406083" y="57665"/>
                  <a:pt x="3406083" y="169464"/>
                </a:cubicBezTo>
                <a:lnTo>
                  <a:pt x="3406083" y="1716618"/>
                </a:lnTo>
                <a:cubicBezTo>
                  <a:pt x="3406083" y="1895495"/>
                  <a:pt x="3301573" y="2140810"/>
                  <a:pt x="3172646" y="2264681"/>
                </a:cubicBezTo>
                <a:lnTo>
                  <a:pt x="232119" y="5090137"/>
                </a:lnTo>
                <a:cubicBezTo>
                  <a:pt x="103193" y="5214003"/>
                  <a:pt x="-657" y="5169560"/>
                  <a:pt x="4" y="4990687"/>
                </a:cubicBezTo>
                <a:lnTo>
                  <a:pt x="6166" y="3443528"/>
                </a:lnTo>
                <a:cubicBezTo>
                  <a:pt x="6166" y="3264656"/>
                  <a:pt x="111992" y="3019336"/>
                  <a:pt x="240700" y="2895251"/>
                </a:cubicBezTo>
                <a:lnTo>
                  <a:pt x="3172865" y="70233"/>
                </a:lnTo>
                <a:cubicBezTo>
                  <a:pt x="3221213" y="23783"/>
                  <a:pt x="3266096" y="970"/>
                  <a:pt x="3303314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D1D6D523-EADE-F210-3F75-A6B0EFC0B13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491370" y="2460289"/>
            <a:ext cx="1700630" cy="3671626"/>
          </a:xfrm>
          <a:custGeom>
            <a:avLst/>
            <a:gdLst>
              <a:gd name="connsiteX0" fmla="*/ 1700630 w 1700630"/>
              <a:gd name="connsiteY0" fmla="*/ 0 h 3671626"/>
              <a:gd name="connsiteX1" fmla="*/ 1700630 w 1700630"/>
              <a:gd name="connsiteY1" fmla="*/ 2190424 h 3671626"/>
              <a:gd name="connsiteX2" fmla="*/ 232119 w 1700630"/>
              <a:gd name="connsiteY2" fmla="*/ 3601468 h 3671626"/>
              <a:gd name="connsiteX3" fmla="*/ 4 w 1700630"/>
              <a:gd name="connsiteY3" fmla="*/ 3502018 h 3671626"/>
              <a:gd name="connsiteX4" fmla="*/ 6166 w 1700630"/>
              <a:gd name="connsiteY4" fmla="*/ 1954859 h 3671626"/>
              <a:gd name="connsiteX5" fmla="*/ 240700 w 1700630"/>
              <a:gd name="connsiteY5" fmla="*/ 1406582 h 3671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00630" h="3671626">
                <a:moveTo>
                  <a:pt x="1700630" y="0"/>
                </a:moveTo>
                <a:lnTo>
                  <a:pt x="1700630" y="2190424"/>
                </a:lnTo>
                <a:lnTo>
                  <a:pt x="232119" y="3601468"/>
                </a:lnTo>
                <a:cubicBezTo>
                  <a:pt x="103193" y="3725334"/>
                  <a:pt x="-657" y="3680891"/>
                  <a:pt x="4" y="3502018"/>
                </a:cubicBezTo>
                <a:lnTo>
                  <a:pt x="6166" y="1954859"/>
                </a:lnTo>
                <a:cubicBezTo>
                  <a:pt x="6166" y="1775987"/>
                  <a:pt x="111992" y="1530667"/>
                  <a:pt x="240700" y="140658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21" name="Text Placeholder 16">
            <a:extLst>
              <a:ext uri="{FF2B5EF4-FFF2-40B4-BE49-F238E27FC236}">
                <a16:creationId xmlns:a16="http://schemas.microsoft.com/office/drawing/2014/main" id="{CCF577C4-D10B-FC22-6AFC-EC87A21D9B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1764973"/>
            <a:ext cx="708511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2" name="Title 6">
            <a:extLst>
              <a:ext uri="{FF2B5EF4-FFF2-40B4-BE49-F238E27FC236}">
                <a16:creationId xmlns:a16="http://schemas.microsoft.com/office/drawing/2014/main" id="{7FE99AF3-5C6C-E5CD-E0DD-63B9AEBD90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66" y="332657"/>
            <a:ext cx="8121230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6" name="Text Placeholder 125">
            <a:extLst>
              <a:ext uri="{FF2B5EF4-FFF2-40B4-BE49-F238E27FC236}">
                <a16:creationId xmlns:a16="http://schemas.microsoft.com/office/drawing/2014/main" id="{C359EBD3-8738-6B0B-29FD-C84B5ECD72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251122" y="3675471"/>
            <a:ext cx="2940879" cy="3182529"/>
          </a:xfrm>
          <a:custGeom>
            <a:avLst/>
            <a:gdLst>
              <a:gd name="connsiteX0" fmla="*/ 107145 w 2940879"/>
              <a:gd name="connsiteY0" fmla="*/ 32 h 3182529"/>
              <a:gd name="connsiteX1" fmla="*/ 243149 w 2940879"/>
              <a:gd name="connsiteY1" fmla="*/ 73223 h 3182529"/>
              <a:gd name="connsiteX2" fmla="*/ 2940879 w 2940879"/>
              <a:gd name="connsiteY2" fmla="*/ 2672374 h 3182529"/>
              <a:gd name="connsiteX3" fmla="*/ 2940879 w 2940879"/>
              <a:gd name="connsiteY3" fmla="*/ 3182529 h 3182529"/>
              <a:gd name="connsiteX4" fmla="*/ 1098241 w 2940879"/>
              <a:gd name="connsiteY4" fmla="*/ 3182529 h 3182529"/>
              <a:gd name="connsiteX5" fmla="*/ 243376 w 2940879"/>
              <a:gd name="connsiteY5" fmla="*/ 2361118 h 3182529"/>
              <a:gd name="connsiteX6" fmla="*/ 0 w 2940879"/>
              <a:gd name="connsiteY6" fmla="*/ 1789717 h 3182529"/>
              <a:gd name="connsiteX7" fmla="*/ 0 w 2940879"/>
              <a:gd name="connsiteY7" fmla="*/ 176679 h 3182529"/>
              <a:gd name="connsiteX8" fmla="*/ 107145 w 2940879"/>
              <a:gd name="connsiteY8" fmla="*/ 32 h 3182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40879" h="3182529">
                <a:moveTo>
                  <a:pt x="107145" y="32"/>
                </a:moveTo>
                <a:cubicBezTo>
                  <a:pt x="145948" y="1011"/>
                  <a:pt x="192743" y="24795"/>
                  <a:pt x="243149" y="73223"/>
                </a:cubicBezTo>
                <a:lnTo>
                  <a:pt x="2940879" y="2672374"/>
                </a:lnTo>
                <a:lnTo>
                  <a:pt x="2940879" y="3182529"/>
                </a:lnTo>
                <a:lnTo>
                  <a:pt x="1098241" y="3182529"/>
                </a:lnTo>
                <a:lnTo>
                  <a:pt x="243376" y="2361118"/>
                </a:lnTo>
                <a:cubicBezTo>
                  <a:pt x="108960" y="2231972"/>
                  <a:pt x="0" y="1976211"/>
                  <a:pt x="0" y="1789717"/>
                </a:cubicBezTo>
                <a:lnTo>
                  <a:pt x="0" y="176679"/>
                </a:lnTo>
                <a:cubicBezTo>
                  <a:pt x="0" y="60120"/>
                  <a:pt x="42474" y="-1599"/>
                  <a:pt x="107145" y="32"/>
                </a:cubicBezTo>
                <a:close/>
              </a:path>
            </a:pathLst>
          </a:custGeom>
          <a:solidFill>
            <a:schemeClr val="accent1">
              <a:alpha val="2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  <a:lvl2pPr algn="ctr">
              <a:defRPr sz="100">
                <a:solidFill>
                  <a:schemeClr val="tx2">
                    <a:alpha val="0"/>
                  </a:schemeClr>
                </a:solidFill>
              </a:defRPr>
            </a:lvl2pPr>
            <a:lvl3pPr algn="ctr">
              <a:defRPr sz="100">
                <a:solidFill>
                  <a:schemeClr val="tx2">
                    <a:alpha val="0"/>
                  </a:schemeClr>
                </a:solidFill>
              </a:defRPr>
            </a:lvl3pPr>
            <a:lvl4pPr algn="ctr">
              <a:defRPr sz="100">
                <a:solidFill>
                  <a:schemeClr val="tx2">
                    <a:alpha val="0"/>
                  </a:schemeClr>
                </a:solidFill>
              </a:defRPr>
            </a:lvl4pPr>
            <a:lvl5pPr algn="ctr">
              <a:defRPr sz="100">
                <a:solidFill>
                  <a:schemeClr val="tx2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3129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60A12CD6-1AE5-31AC-6CBD-D78E36BEC3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615856" cy="6618150"/>
          </a:xfrm>
          <a:custGeom>
            <a:avLst/>
            <a:gdLst>
              <a:gd name="connsiteX0" fmla="*/ 1344078 w 4615856"/>
              <a:gd name="connsiteY0" fmla="*/ 0 h 6618150"/>
              <a:gd name="connsiteX1" fmla="*/ 4615856 w 4615856"/>
              <a:gd name="connsiteY1" fmla="*/ 0 h 6618150"/>
              <a:gd name="connsiteX2" fmla="*/ 4610309 w 4615856"/>
              <a:gd name="connsiteY2" fmla="*/ 1392694 h 6618150"/>
              <a:gd name="connsiteX3" fmla="*/ 4040106 w 4615856"/>
              <a:gd name="connsiteY3" fmla="*/ 2725675 h 6618150"/>
              <a:gd name="connsiteX4" fmla="*/ 0 w 4615856"/>
              <a:gd name="connsiteY4" fmla="*/ 6618150 h 6618150"/>
              <a:gd name="connsiteX5" fmla="*/ 0 w 4615856"/>
              <a:gd name="connsiteY5" fmla="*/ 1291480 h 661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15856" h="6618150">
                <a:moveTo>
                  <a:pt x="1344078" y="0"/>
                </a:moveTo>
                <a:lnTo>
                  <a:pt x="4615856" y="0"/>
                </a:lnTo>
                <a:lnTo>
                  <a:pt x="4610309" y="1392694"/>
                </a:lnTo>
                <a:cubicBezTo>
                  <a:pt x="4610309" y="1827572"/>
                  <a:pt x="4353024" y="2423997"/>
                  <a:pt x="4040106" y="2725675"/>
                </a:cubicBezTo>
                <a:lnTo>
                  <a:pt x="0" y="6618150"/>
                </a:lnTo>
                <a:lnTo>
                  <a:pt x="0" y="1291480"/>
                </a:lnTo>
                <a:close/>
              </a:path>
            </a:pathLst>
          </a:custGeom>
          <a:solidFill>
            <a:srgbClr val="E9473D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E9473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F96BB9A3-8C09-67E4-18D2-E9474749C7D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1561486" cy="2741836"/>
          </a:xfrm>
          <a:custGeom>
            <a:avLst/>
            <a:gdLst>
              <a:gd name="connsiteX0" fmla="*/ 971743 w 1561486"/>
              <a:gd name="connsiteY0" fmla="*/ 0 h 2741836"/>
              <a:gd name="connsiteX1" fmla="*/ 1561486 w 1561486"/>
              <a:gd name="connsiteY1" fmla="*/ 0 h 2741836"/>
              <a:gd name="connsiteX2" fmla="*/ 1561486 w 1561486"/>
              <a:gd name="connsiteY2" fmla="*/ 974513 h 2741836"/>
              <a:gd name="connsiteX3" fmla="*/ 1369018 w 1561486"/>
              <a:gd name="connsiteY3" fmla="*/ 1426392 h 2741836"/>
              <a:gd name="connsiteX4" fmla="*/ 0 w 1561486"/>
              <a:gd name="connsiteY4" fmla="*/ 2741836 h 2741836"/>
              <a:gd name="connsiteX5" fmla="*/ 0 w 1561486"/>
              <a:gd name="connsiteY5" fmla="*/ 936234 h 2741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61486" h="2741836">
                <a:moveTo>
                  <a:pt x="971743" y="0"/>
                </a:moveTo>
                <a:lnTo>
                  <a:pt x="1561486" y="0"/>
                </a:lnTo>
                <a:lnTo>
                  <a:pt x="1561486" y="974513"/>
                </a:lnTo>
                <a:cubicBezTo>
                  <a:pt x="1561486" y="1121998"/>
                  <a:pt x="1475318" y="1324260"/>
                  <a:pt x="1369018" y="1426392"/>
                </a:cubicBezTo>
                <a:lnTo>
                  <a:pt x="0" y="2741836"/>
                </a:lnTo>
                <a:lnTo>
                  <a:pt x="0" y="936234"/>
                </a:ln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E8EC4792-EFE6-C3F8-AAB0-E0DF3A411A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23743" y="451475"/>
            <a:ext cx="4468257" cy="6406525"/>
          </a:xfrm>
          <a:custGeom>
            <a:avLst/>
            <a:gdLst>
              <a:gd name="connsiteX0" fmla="*/ 3647728 w 3647728"/>
              <a:gd name="connsiteY0" fmla="*/ 0 h 5230062"/>
              <a:gd name="connsiteX1" fmla="*/ 3647728 w 3647728"/>
              <a:gd name="connsiteY1" fmla="*/ 4209457 h 5230062"/>
              <a:gd name="connsiteX2" fmla="*/ 2585556 w 3647728"/>
              <a:gd name="connsiteY2" fmla="*/ 5230062 h 5230062"/>
              <a:gd name="connsiteX3" fmla="*/ 0 w 3647728"/>
              <a:gd name="connsiteY3" fmla="*/ 5230062 h 5230062"/>
              <a:gd name="connsiteX4" fmla="*/ 4384 w 3647728"/>
              <a:gd name="connsiteY4" fmla="*/ 4129471 h 5230062"/>
              <a:gd name="connsiteX5" fmla="*/ 454992 w 3647728"/>
              <a:gd name="connsiteY5" fmla="*/ 3076069 h 523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47728" h="5230062">
                <a:moveTo>
                  <a:pt x="3647728" y="0"/>
                </a:moveTo>
                <a:lnTo>
                  <a:pt x="3647728" y="4209457"/>
                </a:lnTo>
                <a:lnTo>
                  <a:pt x="2585556" y="5230062"/>
                </a:lnTo>
                <a:lnTo>
                  <a:pt x="0" y="5230062"/>
                </a:lnTo>
                <a:lnTo>
                  <a:pt x="4384" y="4129471"/>
                </a:lnTo>
                <a:cubicBezTo>
                  <a:pt x="4384" y="3785804"/>
                  <a:pt x="207706" y="3314473"/>
                  <a:pt x="454992" y="3076069"/>
                </a:cubicBezTo>
                <a:close/>
              </a:path>
            </a:pathLst>
          </a:custGeom>
          <a:solidFill>
            <a:schemeClr val="accent6">
              <a:alpha val="1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DF36CEAF-0A9E-1D9A-28DA-EB9C2D87E0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8" name="Title 6">
            <a:extLst>
              <a:ext uri="{FF2B5EF4-FFF2-40B4-BE49-F238E27FC236}">
                <a16:creationId xmlns:a16="http://schemas.microsoft.com/office/drawing/2014/main" id="{D564B358-2F1B-8D24-C7D9-4DFE56712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93F567A-D2B4-8E05-AC49-6EFEFF7B1B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" y="-2259"/>
            <a:ext cx="2943041" cy="4906132"/>
          </a:xfrm>
          <a:custGeom>
            <a:avLst/>
            <a:gdLst>
              <a:gd name="connsiteX0" fmla="*/ 2838364 w 2943041"/>
              <a:gd name="connsiteY0" fmla="*/ 31 h 4906132"/>
              <a:gd name="connsiteX1" fmla="*/ 2943041 w 2943041"/>
              <a:gd name="connsiteY1" fmla="*/ 172609 h 4906132"/>
              <a:gd name="connsiteX2" fmla="*/ 2943041 w 2943041"/>
              <a:gd name="connsiteY2" fmla="*/ 1748488 h 4906132"/>
              <a:gd name="connsiteX3" fmla="*/ 2705270 w 2943041"/>
              <a:gd name="connsiteY3" fmla="*/ 2306727 h 4906132"/>
              <a:gd name="connsiteX4" fmla="*/ 0 w 2943041"/>
              <a:gd name="connsiteY4" fmla="*/ 4906132 h 4906132"/>
              <a:gd name="connsiteX5" fmla="*/ 0 w 2943041"/>
              <a:gd name="connsiteY5" fmla="*/ 2678164 h 4906132"/>
              <a:gd name="connsiteX6" fmla="*/ 2705493 w 2943041"/>
              <a:gd name="connsiteY6" fmla="*/ 71535 h 4906132"/>
              <a:gd name="connsiteX7" fmla="*/ 2838364 w 2943041"/>
              <a:gd name="connsiteY7" fmla="*/ 31 h 4906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3041" h="4906132">
                <a:moveTo>
                  <a:pt x="2838364" y="31"/>
                </a:moveTo>
                <a:cubicBezTo>
                  <a:pt x="2901546" y="-1562"/>
                  <a:pt x="2943041" y="58735"/>
                  <a:pt x="2943041" y="172609"/>
                </a:cubicBezTo>
                <a:lnTo>
                  <a:pt x="2943041" y="1748488"/>
                </a:lnTo>
                <a:cubicBezTo>
                  <a:pt x="2943041" y="1930687"/>
                  <a:pt x="2836590" y="2180556"/>
                  <a:pt x="2705270" y="2306727"/>
                </a:cubicBezTo>
                <a:lnTo>
                  <a:pt x="0" y="4906132"/>
                </a:lnTo>
                <a:lnTo>
                  <a:pt x="0" y="2678164"/>
                </a:lnTo>
                <a:lnTo>
                  <a:pt x="2705493" y="71535"/>
                </a:lnTo>
                <a:cubicBezTo>
                  <a:pt x="2754738" y="24223"/>
                  <a:pt x="2800454" y="987"/>
                  <a:pt x="2838364" y="3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EC731905-C1E9-3DDA-A8B0-34C9326F3D1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468316"/>
            <a:ext cx="2304114" cy="3389685"/>
          </a:xfrm>
          <a:custGeom>
            <a:avLst/>
            <a:gdLst>
              <a:gd name="connsiteX0" fmla="*/ 0 w 2304114"/>
              <a:gd name="connsiteY0" fmla="*/ 0 h 3389685"/>
              <a:gd name="connsiteX1" fmla="*/ 2098668 w 2304114"/>
              <a:gd name="connsiteY1" fmla="*/ 2021980 h 3389685"/>
              <a:gd name="connsiteX2" fmla="*/ 2300546 w 2304114"/>
              <a:gd name="connsiteY2" fmla="*/ 2493915 h 3389685"/>
              <a:gd name="connsiteX3" fmla="*/ 2304114 w 2304114"/>
              <a:gd name="connsiteY3" fmla="*/ 3389685 h 3389685"/>
              <a:gd name="connsiteX4" fmla="*/ 1563249 w 2304114"/>
              <a:gd name="connsiteY4" fmla="*/ 3389685 h 3389685"/>
              <a:gd name="connsiteX5" fmla="*/ 0 w 2304114"/>
              <a:gd name="connsiteY5" fmla="*/ 1887611 h 3389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04114" h="3389685">
                <a:moveTo>
                  <a:pt x="0" y="0"/>
                </a:moveTo>
                <a:lnTo>
                  <a:pt x="2098668" y="2021980"/>
                </a:lnTo>
                <a:cubicBezTo>
                  <a:pt x="2209455" y="2128787"/>
                  <a:pt x="2300546" y="2339949"/>
                  <a:pt x="2300546" y="2493915"/>
                </a:cubicBezTo>
                <a:lnTo>
                  <a:pt x="2304114" y="3389685"/>
                </a:lnTo>
                <a:lnTo>
                  <a:pt x="1563249" y="3389685"/>
                </a:lnTo>
                <a:lnTo>
                  <a:pt x="0" y="1887611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BCE7D32B-E0F9-2767-710D-290C21B5811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40321" y="3414634"/>
            <a:ext cx="3783257" cy="3443367"/>
          </a:xfrm>
          <a:custGeom>
            <a:avLst/>
            <a:gdLst>
              <a:gd name="connsiteX0" fmla="*/ 134159 w 3783257"/>
              <a:gd name="connsiteY0" fmla="*/ 40 h 3443367"/>
              <a:gd name="connsiteX1" fmla="*/ 304452 w 3783257"/>
              <a:gd name="connsiteY1" fmla="*/ 91683 h 3443367"/>
              <a:gd name="connsiteX2" fmla="*/ 3783257 w 3783257"/>
              <a:gd name="connsiteY2" fmla="*/ 3443367 h 3443367"/>
              <a:gd name="connsiteX3" fmla="*/ 811536 w 3783257"/>
              <a:gd name="connsiteY3" fmla="*/ 3443367 h 3443367"/>
              <a:gd name="connsiteX4" fmla="*/ 304737 w 3783257"/>
              <a:gd name="connsiteY4" fmla="*/ 2956400 h 3443367"/>
              <a:gd name="connsiteX5" fmla="*/ 0 w 3783257"/>
              <a:gd name="connsiteY5" fmla="*/ 2240937 h 3443367"/>
              <a:gd name="connsiteX6" fmla="*/ 0 w 3783257"/>
              <a:gd name="connsiteY6" fmla="*/ 221223 h 3443367"/>
              <a:gd name="connsiteX7" fmla="*/ 134159 w 3783257"/>
              <a:gd name="connsiteY7" fmla="*/ 40 h 3443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83257" h="3443367">
                <a:moveTo>
                  <a:pt x="134159" y="40"/>
                </a:moveTo>
                <a:cubicBezTo>
                  <a:pt x="182745" y="1265"/>
                  <a:pt x="241337" y="31046"/>
                  <a:pt x="304452" y="91683"/>
                </a:cubicBezTo>
                <a:lnTo>
                  <a:pt x="3783257" y="3443367"/>
                </a:lnTo>
                <a:lnTo>
                  <a:pt x="811536" y="3443367"/>
                </a:lnTo>
                <a:lnTo>
                  <a:pt x="304737" y="2956400"/>
                </a:lnTo>
                <a:cubicBezTo>
                  <a:pt x="136431" y="2794693"/>
                  <a:pt x="0" y="2474450"/>
                  <a:pt x="0" y="2240937"/>
                </a:cubicBezTo>
                <a:lnTo>
                  <a:pt x="0" y="221223"/>
                </a:lnTo>
                <a:cubicBezTo>
                  <a:pt x="0" y="75278"/>
                  <a:pt x="53182" y="-2002"/>
                  <a:pt x="134159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5729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60A12CD6-1AE5-31AC-6CBD-D78E36BEC3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615856" cy="6618150"/>
          </a:xfrm>
          <a:custGeom>
            <a:avLst/>
            <a:gdLst>
              <a:gd name="connsiteX0" fmla="*/ 1344078 w 4615856"/>
              <a:gd name="connsiteY0" fmla="*/ 0 h 6618150"/>
              <a:gd name="connsiteX1" fmla="*/ 4615856 w 4615856"/>
              <a:gd name="connsiteY1" fmla="*/ 0 h 6618150"/>
              <a:gd name="connsiteX2" fmla="*/ 4610309 w 4615856"/>
              <a:gd name="connsiteY2" fmla="*/ 1392694 h 6618150"/>
              <a:gd name="connsiteX3" fmla="*/ 4040106 w 4615856"/>
              <a:gd name="connsiteY3" fmla="*/ 2725675 h 6618150"/>
              <a:gd name="connsiteX4" fmla="*/ 0 w 4615856"/>
              <a:gd name="connsiteY4" fmla="*/ 6618150 h 6618150"/>
              <a:gd name="connsiteX5" fmla="*/ 0 w 4615856"/>
              <a:gd name="connsiteY5" fmla="*/ 1291480 h 661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15856" h="6618150">
                <a:moveTo>
                  <a:pt x="1344078" y="0"/>
                </a:moveTo>
                <a:lnTo>
                  <a:pt x="4615856" y="0"/>
                </a:lnTo>
                <a:lnTo>
                  <a:pt x="4610309" y="1392694"/>
                </a:lnTo>
                <a:cubicBezTo>
                  <a:pt x="4610309" y="1827572"/>
                  <a:pt x="4353024" y="2423997"/>
                  <a:pt x="4040106" y="2725675"/>
                </a:cubicBezTo>
                <a:lnTo>
                  <a:pt x="0" y="6618150"/>
                </a:lnTo>
                <a:lnTo>
                  <a:pt x="0" y="1291480"/>
                </a:lnTo>
                <a:close/>
              </a:path>
            </a:pathLst>
          </a:custGeom>
          <a:solidFill>
            <a:srgbClr val="7E003F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E9473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93F567A-D2B4-8E05-AC49-6EFEFF7B1B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" y="-2259"/>
            <a:ext cx="2943041" cy="4906132"/>
          </a:xfrm>
          <a:custGeom>
            <a:avLst/>
            <a:gdLst>
              <a:gd name="connsiteX0" fmla="*/ 2838364 w 2943041"/>
              <a:gd name="connsiteY0" fmla="*/ 31 h 4906132"/>
              <a:gd name="connsiteX1" fmla="*/ 2943041 w 2943041"/>
              <a:gd name="connsiteY1" fmla="*/ 172609 h 4906132"/>
              <a:gd name="connsiteX2" fmla="*/ 2943041 w 2943041"/>
              <a:gd name="connsiteY2" fmla="*/ 1748488 h 4906132"/>
              <a:gd name="connsiteX3" fmla="*/ 2705270 w 2943041"/>
              <a:gd name="connsiteY3" fmla="*/ 2306727 h 4906132"/>
              <a:gd name="connsiteX4" fmla="*/ 0 w 2943041"/>
              <a:gd name="connsiteY4" fmla="*/ 4906132 h 4906132"/>
              <a:gd name="connsiteX5" fmla="*/ 0 w 2943041"/>
              <a:gd name="connsiteY5" fmla="*/ 2678164 h 4906132"/>
              <a:gd name="connsiteX6" fmla="*/ 2705493 w 2943041"/>
              <a:gd name="connsiteY6" fmla="*/ 71535 h 4906132"/>
              <a:gd name="connsiteX7" fmla="*/ 2838364 w 2943041"/>
              <a:gd name="connsiteY7" fmla="*/ 31 h 4906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3041" h="4906132">
                <a:moveTo>
                  <a:pt x="2838364" y="31"/>
                </a:moveTo>
                <a:cubicBezTo>
                  <a:pt x="2901546" y="-1562"/>
                  <a:pt x="2943041" y="58735"/>
                  <a:pt x="2943041" y="172609"/>
                </a:cubicBezTo>
                <a:lnTo>
                  <a:pt x="2943041" y="1748488"/>
                </a:lnTo>
                <a:cubicBezTo>
                  <a:pt x="2943041" y="1930687"/>
                  <a:pt x="2836590" y="2180556"/>
                  <a:pt x="2705270" y="2306727"/>
                </a:cubicBezTo>
                <a:lnTo>
                  <a:pt x="0" y="4906132"/>
                </a:lnTo>
                <a:lnTo>
                  <a:pt x="0" y="2678164"/>
                </a:lnTo>
                <a:lnTo>
                  <a:pt x="2705493" y="71535"/>
                </a:lnTo>
                <a:cubicBezTo>
                  <a:pt x="2754738" y="24223"/>
                  <a:pt x="2800454" y="987"/>
                  <a:pt x="2838364" y="3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F96BB9A3-8C09-67E4-18D2-E9474749C7D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 flipV="1">
            <a:off x="0" y="4116164"/>
            <a:ext cx="1561486" cy="2741836"/>
          </a:xfrm>
          <a:custGeom>
            <a:avLst/>
            <a:gdLst>
              <a:gd name="connsiteX0" fmla="*/ 971743 w 1561486"/>
              <a:gd name="connsiteY0" fmla="*/ 0 h 2741836"/>
              <a:gd name="connsiteX1" fmla="*/ 1561486 w 1561486"/>
              <a:gd name="connsiteY1" fmla="*/ 0 h 2741836"/>
              <a:gd name="connsiteX2" fmla="*/ 1561486 w 1561486"/>
              <a:gd name="connsiteY2" fmla="*/ 974513 h 2741836"/>
              <a:gd name="connsiteX3" fmla="*/ 1369018 w 1561486"/>
              <a:gd name="connsiteY3" fmla="*/ 1426392 h 2741836"/>
              <a:gd name="connsiteX4" fmla="*/ 0 w 1561486"/>
              <a:gd name="connsiteY4" fmla="*/ 2741836 h 2741836"/>
              <a:gd name="connsiteX5" fmla="*/ 0 w 1561486"/>
              <a:gd name="connsiteY5" fmla="*/ 936234 h 2741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61486" h="2741836">
                <a:moveTo>
                  <a:pt x="971743" y="0"/>
                </a:moveTo>
                <a:lnTo>
                  <a:pt x="1561486" y="0"/>
                </a:lnTo>
                <a:lnTo>
                  <a:pt x="1561486" y="974513"/>
                </a:lnTo>
                <a:cubicBezTo>
                  <a:pt x="1561486" y="1121998"/>
                  <a:pt x="1475318" y="1324260"/>
                  <a:pt x="1369018" y="1426392"/>
                </a:cubicBezTo>
                <a:lnTo>
                  <a:pt x="0" y="2741836"/>
                </a:lnTo>
                <a:lnTo>
                  <a:pt x="0" y="936234"/>
                </a:lnTo>
                <a:close/>
              </a:path>
            </a:pathLst>
          </a:custGeom>
          <a:solidFill>
            <a:srgbClr val="38B6AB">
              <a:alpha val="2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E8EC4792-EFE6-C3F8-AAB0-E0DF3A411A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23743" y="451475"/>
            <a:ext cx="4468257" cy="6406525"/>
          </a:xfrm>
          <a:custGeom>
            <a:avLst/>
            <a:gdLst>
              <a:gd name="connsiteX0" fmla="*/ 3647728 w 3647728"/>
              <a:gd name="connsiteY0" fmla="*/ 0 h 5230062"/>
              <a:gd name="connsiteX1" fmla="*/ 3647728 w 3647728"/>
              <a:gd name="connsiteY1" fmla="*/ 4209457 h 5230062"/>
              <a:gd name="connsiteX2" fmla="*/ 2585556 w 3647728"/>
              <a:gd name="connsiteY2" fmla="*/ 5230062 h 5230062"/>
              <a:gd name="connsiteX3" fmla="*/ 0 w 3647728"/>
              <a:gd name="connsiteY3" fmla="*/ 5230062 h 5230062"/>
              <a:gd name="connsiteX4" fmla="*/ 4384 w 3647728"/>
              <a:gd name="connsiteY4" fmla="*/ 4129471 h 5230062"/>
              <a:gd name="connsiteX5" fmla="*/ 454992 w 3647728"/>
              <a:gd name="connsiteY5" fmla="*/ 3076069 h 523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47728" h="5230062">
                <a:moveTo>
                  <a:pt x="3647728" y="0"/>
                </a:moveTo>
                <a:lnTo>
                  <a:pt x="3647728" y="4209457"/>
                </a:lnTo>
                <a:lnTo>
                  <a:pt x="2585556" y="5230062"/>
                </a:lnTo>
                <a:lnTo>
                  <a:pt x="0" y="5230062"/>
                </a:lnTo>
                <a:lnTo>
                  <a:pt x="4384" y="4129471"/>
                </a:lnTo>
                <a:cubicBezTo>
                  <a:pt x="4384" y="3785804"/>
                  <a:pt x="207706" y="3314473"/>
                  <a:pt x="454992" y="3076069"/>
                </a:cubicBezTo>
                <a:close/>
              </a:path>
            </a:pathLst>
          </a:custGeom>
          <a:solidFill>
            <a:srgbClr val="F07E26">
              <a:alpha val="1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DF36CEAF-0A9E-1D9A-28DA-EB9C2D87E0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8" name="Title 6">
            <a:extLst>
              <a:ext uri="{FF2B5EF4-FFF2-40B4-BE49-F238E27FC236}">
                <a16:creationId xmlns:a16="http://schemas.microsoft.com/office/drawing/2014/main" id="{D564B358-2F1B-8D24-C7D9-4DFE56712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BCE7D32B-E0F9-2767-710D-290C21B5811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40321" y="3414634"/>
            <a:ext cx="3783257" cy="3443367"/>
          </a:xfrm>
          <a:custGeom>
            <a:avLst/>
            <a:gdLst>
              <a:gd name="connsiteX0" fmla="*/ 134159 w 3783257"/>
              <a:gd name="connsiteY0" fmla="*/ 40 h 3443367"/>
              <a:gd name="connsiteX1" fmla="*/ 304452 w 3783257"/>
              <a:gd name="connsiteY1" fmla="*/ 91683 h 3443367"/>
              <a:gd name="connsiteX2" fmla="*/ 3783257 w 3783257"/>
              <a:gd name="connsiteY2" fmla="*/ 3443367 h 3443367"/>
              <a:gd name="connsiteX3" fmla="*/ 811536 w 3783257"/>
              <a:gd name="connsiteY3" fmla="*/ 3443367 h 3443367"/>
              <a:gd name="connsiteX4" fmla="*/ 304737 w 3783257"/>
              <a:gd name="connsiteY4" fmla="*/ 2956400 h 3443367"/>
              <a:gd name="connsiteX5" fmla="*/ 0 w 3783257"/>
              <a:gd name="connsiteY5" fmla="*/ 2240937 h 3443367"/>
              <a:gd name="connsiteX6" fmla="*/ 0 w 3783257"/>
              <a:gd name="connsiteY6" fmla="*/ 221223 h 3443367"/>
              <a:gd name="connsiteX7" fmla="*/ 134159 w 3783257"/>
              <a:gd name="connsiteY7" fmla="*/ 40 h 3443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83257" h="3443367">
                <a:moveTo>
                  <a:pt x="134159" y="40"/>
                </a:moveTo>
                <a:cubicBezTo>
                  <a:pt x="182745" y="1265"/>
                  <a:pt x="241337" y="31046"/>
                  <a:pt x="304452" y="91683"/>
                </a:cubicBezTo>
                <a:lnTo>
                  <a:pt x="3783257" y="3443367"/>
                </a:lnTo>
                <a:lnTo>
                  <a:pt x="811536" y="3443367"/>
                </a:lnTo>
                <a:lnTo>
                  <a:pt x="304737" y="2956400"/>
                </a:lnTo>
                <a:cubicBezTo>
                  <a:pt x="136431" y="2794693"/>
                  <a:pt x="0" y="2474450"/>
                  <a:pt x="0" y="2240937"/>
                </a:cubicBezTo>
                <a:lnTo>
                  <a:pt x="0" y="221223"/>
                </a:lnTo>
                <a:cubicBezTo>
                  <a:pt x="0" y="75278"/>
                  <a:pt x="53182" y="-2002"/>
                  <a:pt x="134159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07594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Text Placeholder 16">
            <a:extLst>
              <a:ext uri="{FF2B5EF4-FFF2-40B4-BE49-F238E27FC236}">
                <a16:creationId xmlns:a16="http://schemas.microsoft.com/office/drawing/2014/main" id="{CCF577C4-D10B-FC22-6AFC-EC87A21D9B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2306698"/>
            <a:ext cx="10713953" cy="39305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2" name="Title 6">
            <a:extLst>
              <a:ext uri="{FF2B5EF4-FFF2-40B4-BE49-F238E27FC236}">
                <a16:creationId xmlns:a16="http://schemas.microsoft.com/office/drawing/2014/main" id="{7FE99AF3-5C6C-E5CD-E0DD-63B9AEBD90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630" y="1230238"/>
            <a:ext cx="10713953" cy="8326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7EDA0FA-3C47-2126-A462-118D5004A5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7368" y="5627208"/>
            <a:ext cx="1079625" cy="61008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45600CD7-5315-68D0-7327-125A973CF0F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8203065" y="2177780"/>
            <a:ext cx="416760" cy="251888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41FD46B-C8E0-1B9B-83B9-99E4B55112EC}"/>
              </a:ext>
            </a:extLst>
          </p:cNvPr>
          <p:cNvSpPr txBox="1">
            <a:spLocks/>
          </p:cNvSpPr>
          <p:nvPr userDrawn="1"/>
        </p:nvSpPr>
        <p:spPr>
          <a:xfrm>
            <a:off x="767408" y="6365040"/>
            <a:ext cx="2462475" cy="225178"/>
          </a:xfrm>
          <a:prstGeom prst="rect">
            <a:avLst/>
          </a:prstGeom>
        </p:spPr>
        <p:txBody>
          <a:bodyPr vert="horz" lIns="0" tIns="0" rIns="0" bIns="0" rtlCol="0" anchor="ctr">
            <a:normAutofit fontScale="55000" lnSpcReduction="2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/>
              <a:t>This project is financed by the European Union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F9F7238-753C-8C04-9285-3977514BA2F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7740" y="6340748"/>
            <a:ext cx="306614" cy="204409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3CFD04C4-FE7D-6615-90B0-44CB1FDB70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7368" y="317581"/>
            <a:ext cx="1148318" cy="69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503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CF5889-E281-E50F-59D3-793296F6801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9784" y="365129"/>
            <a:ext cx="10515600" cy="132555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FD58B4-9576-BD75-D57A-B61CA56A798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839784" y="1681160"/>
            <a:ext cx="5157782" cy="823910"/>
          </a:xfrm>
        </p:spPr>
        <p:txBody>
          <a:bodyPr anchor="b"/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BE88A65-6539-D415-B13F-DBC3409C00CB}"/>
              </a:ext>
            </a:extLst>
          </p:cNvPr>
          <p:cNvSpPr txBox="1">
            <a:spLocks noGrp="1"/>
          </p:cNvSpPr>
          <p:nvPr>
            <p:ph idx="2"/>
          </p:nvPr>
        </p:nvSpPr>
        <p:spPr>
          <a:xfrm>
            <a:off x="839784" y="2505071"/>
            <a:ext cx="5157782" cy="368458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94E528B-529F-C8E1-70D9-ADE4D56A8D9A}"/>
              </a:ext>
            </a:extLst>
          </p:cNvPr>
          <p:cNvSpPr txBox="1">
            <a:spLocks noGrp="1"/>
          </p:cNvSpPr>
          <p:nvPr>
            <p:ph type="body" idx="3"/>
          </p:nvPr>
        </p:nvSpPr>
        <p:spPr>
          <a:xfrm>
            <a:off x="6172200" y="1681160"/>
            <a:ext cx="5183184" cy="823910"/>
          </a:xfrm>
        </p:spPr>
        <p:txBody>
          <a:bodyPr anchor="b"/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1EB5F23-3570-F718-20FE-B8E6F946188F}"/>
              </a:ext>
            </a:extLst>
          </p:cNvPr>
          <p:cNvSpPr txBox="1">
            <a:spLocks noGrp="1"/>
          </p:cNvSpPr>
          <p:nvPr>
            <p:ph idx="4"/>
          </p:nvPr>
        </p:nvSpPr>
        <p:spPr>
          <a:xfrm>
            <a:off x="6172200" y="2505071"/>
            <a:ext cx="5183184" cy="368458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9C0A37B-8C38-1F7B-0DB3-15A536329263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8B5E12B9-D215-455E-8A6B-B9787E33B26A}" type="datetime1">
              <a:rPr lang="fr-FR"/>
              <a:pPr lvl="0"/>
              <a:t>03/04/2024</a:t>
            </a:fld>
            <a:endParaRPr lang="fr-F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20DF038-B7B7-E982-2826-241622EBAF76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fr-F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3A59234-117A-439A-5977-87F1EBD4C3F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35E6F77B-5D73-4750-AFE8-4F2CF70E7A1A}" type="slidenum"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399255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EB120B9A-364A-AB0B-366A-FF46B2CBE37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2621" y="550872"/>
            <a:ext cx="3229379" cy="6307128"/>
          </a:xfrm>
          <a:custGeom>
            <a:avLst/>
            <a:gdLst>
              <a:gd name="connsiteX0" fmla="*/ 3229379 w 3229379"/>
              <a:gd name="connsiteY0" fmla="*/ 0 h 6307128"/>
              <a:gd name="connsiteX1" fmla="*/ 3229379 w 3229379"/>
              <a:gd name="connsiteY1" fmla="*/ 3598208 h 6307128"/>
              <a:gd name="connsiteX2" fmla="*/ 3229379 w 3229379"/>
              <a:gd name="connsiteY2" fmla="*/ 3808777 h 6307128"/>
              <a:gd name="connsiteX3" fmla="*/ 3229379 w 3229379"/>
              <a:gd name="connsiteY3" fmla="*/ 6307128 h 6307128"/>
              <a:gd name="connsiteX4" fmla="*/ 636271 w 3229379"/>
              <a:gd name="connsiteY4" fmla="*/ 6307128 h 6307128"/>
              <a:gd name="connsiteX5" fmla="*/ 1 w 3229379"/>
              <a:gd name="connsiteY5" fmla="*/ 6307128 h 6307128"/>
              <a:gd name="connsiteX6" fmla="*/ 0 w 3229379"/>
              <a:gd name="connsiteY6" fmla="*/ 6307128 h 6307128"/>
              <a:gd name="connsiteX7" fmla="*/ 0 w 3229379"/>
              <a:gd name="connsiteY7" fmla="*/ 3598208 h 6307128"/>
              <a:gd name="connsiteX8" fmla="*/ 4610 w 3229379"/>
              <a:gd name="connsiteY8" fmla="*/ 3598208 h 6307128"/>
              <a:gd name="connsiteX9" fmla="*/ 8249 w 3229379"/>
              <a:gd name="connsiteY9" fmla="*/ 3544634 h 6307128"/>
              <a:gd name="connsiteX10" fmla="*/ 405979 w 3229379"/>
              <a:gd name="connsiteY10" fmla="*/ 2712911 h 63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29379" h="6307128">
                <a:moveTo>
                  <a:pt x="3229379" y="0"/>
                </a:moveTo>
                <a:lnTo>
                  <a:pt x="3229379" y="3598208"/>
                </a:lnTo>
                <a:lnTo>
                  <a:pt x="3229379" y="3808777"/>
                </a:lnTo>
                <a:lnTo>
                  <a:pt x="3229379" y="6307128"/>
                </a:lnTo>
                <a:lnTo>
                  <a:pt x="636271" y="6307128"/>
                </a:lnTo>
                <a:lnTo>
                  <a:pt x="1" y="6307128"/>
                </a:lnTo>
                <a:lnTo>
                  <a:pt x="0" y="6307128"/>
                </a:lnTo>
                <a:lnTo>
                  <a:pt x="0" y="3598208"/>
                </a:lnTo>
                <a:lnTo>
                  <a:pt x="4610" y="3598208"/>
                </a:lnTo>
                <a:lnTo>
                  <a:pt x="8249" y="3544634"/>
                </a:lnTo>
                <a:cubicBezTo>
                  <a:pt x="46104" y="3251619"/>
                  <a:pt x="209785" y="2901412"/>
                  <a:pt x="405979" y="2712911"/>
                </a:cubicBezTo>
                <a:close/>
              </a:path>
            </a:pathLst>
          </a:custGeom>
          <a:solidFill>
            <a:schemeClr val="accent2">
              <a:alpha val="6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715722DB-F61B-6C39-37DD-C0C553D1D8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707532" y="4401248"/>
            <a:ext cx="2484468" cy="2456753"/>
          </a:xfrm>
          <a:custGeom>
            <a:avLst/>
            <a:gdLst>
              <a:gd name="connsiteX0" fmla="*/ 2484468 w 2484468"/>
              <a:gd name="connsiteY0" fmla="*/ 0 h 2456753"/>
              <a:gd name="connsiteX1" fmla="*/ 2484468 w 2484468"/>
              <a:gd name="connsiteY1" fmla="*/ 2220567 h 2456753"/>
              <a:gd name="connsiteX2" fmla="*/ 2239324 w 2484468"/>
              <a:gd name="connsiteY2" fmla="*/ 2456753 h 2456753"/>
              <a:gd name="connsiteX3" fmla="*/ 0 w 2484468"/>
              <a:gd name="connsiteY3" fmla="*/ 2456753 h 2456753"/>
              <a:gd name="connsiteX4" fmla="*/ 46749 w 2484468"/>
              <a:gd name="connsiteY4" fmla="*/ 2368128 h 2456753"/>
              <a:gd name="connsiteX5" fmla="*/ 138956 w 2484468"/>
              <a:gd name="connsiteY5" fmla="*/ 2253725 h 2456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4468" h="2456753">
                <a:moveTo>
                  <a:pt x="2484468" y="0"/>
                </a:moveTo>
                <a:lnTo>
                  <a:pt x="2484468" y="2220567"/>
                </a:lnTo>
                <a:lnTo>
                  <a:pt x="2239324" y="2456753"/>
                </a:lnTo>
                <a:lnTo>
                  <a:pt x="0" y="2456753"/>
                </a:lnTo>
                <a:lnTo>
                  <a:pt x="46749" y="2368128"/>
                </a:lnTo>
                <a:cubicBezTo>
                  <a:pt x="75089" y="2324278"/>
                  <a:pt x="106248" y="2285150"/>
                  <a:pt x="138956" y="225372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5242917A-7E8E-CC33-6FC8-7965D64F35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74709" y="260208"/>
            <a:ext cx="3456388" cy="5010292"/>
          </a:xfrm>
          <a:custGeom>
            <a:avLst/>
            <a:gdLst>
              <a:gd name="connsiteX0" fmla="*/ 103350 w 3456388"/>
              <a:gd name="connsiteY0" fmla="*/ 29 h 5010292"/>
              <a:gd name="connsiteX1" fmla="*/ 235548 w 3456388"/>
              <a:gd name="connsiteY1" fmla="*/ 71195 h 5010292"/>
              <a:gd name="connsiteX2" fmla="*/ 3219504 w 3456388"/>
              <a:gd name="connsiteY2" fmla="*/ 2938380 h 5010292"/>
              <a:gd name="connsiteX3" fmla="*/ 3456388 w 3456388"/>
              <a:gd name="connsiteY3" fmla="*/ 3494538 h 5010292"/>
              <a:gd name="connsiteX4" fmla="*/ 3456388 w 3456388"/>
              <a:gd name="connsiteY4" fmla="*/ 5010292 h 5010292"/>
              <a:gd name="connsiteX5" fmla="*/ 3058902 w 3456388"/>
              <a:gd name="connsiteY5" fmla="*/ 5010292 h 5010292"/>
              <a:gd name="connsiteX6" fmla="*/ 244256 w 3456388"/>
              <a:gd name="connsiteY6" fmla="*/ 2298498 h 5010292"/>
              <a:gd name="connsiteX7" fmla="*/ 6258 w 3456388"/>
              <a:gd name="connsiteY7" fmla="*/ 1742123 h 5010292"/>
              <a:gd name="connsiteX8" fmla="*/ 4 w 3456388"/>
              <a:gd name="connsiteY8" fmla="*/ 172114 h 5010292"/>
              <a:gd name="connsiteX9" fmla="*/ 103350 w 3456388"/>
              <a:gd name="connsiteY9" fmla="*/ 29 h 5010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56388" h="5010292">
                <a:moveTo>
                  <a:pt x="103350" y="29"/>
                </a:moveTo>
                <a:cubicBezTo>
                  <a:pt x="141003" y="941"/>
                  <a:pt x="186486" y="24059"/>
                  <a:pt x="235548" y="71195"/>
                </a:cubicBezTo>
                <a:lnTo>
                  <a:pt x="3219504" y="2938380"/>
                </a:lnTo>
                <a:cubicBezTo>
                  <a:pt x="3350335" y="3064081"/>
                  <a:pt x="3456388" y="3313019"/>
                  <a:pt x="3456388" y="3494538"/>
                </a:cubicBezTo>
                <a:lnTo>
                  <a:pt x="3456388" y="5010292"/>
                </a:lnTo>
                <a:lnTo>
                  <a:pt x="3058902" y="5010292"/>
                </a:lnTo>
                <a:lnTo>
                  <a:pt x="244256" y="2298498"/>
                </a:lnTo>
                <a:cubicBezTo>
                  <a:pt x="113647" y="2172580"/>
                  <a:pt x="6258" y="1923637"/>
                  <a:pt x="6258" y="1742123"/>
                </a:cubicBezTo>
                <a:lnTo>
                  <a:pt x="4" y="172114"/>
                </a:lnTo>
                <a:cubicBezTo>
                  <a:pt x="-415" y="58667"/>
                  <a:pt x="40594" y="-1492"/>
                  <a:pt x="103350" y="2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A07A8FF-6971-1482-F56C-D08A356688C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29317" y="2749082"/>
            <a:ext cx="4032451" cy="4108918"/>
          </a:xfrm>
          <a:custGeom>
            <a:avLst/>
            <a:gdLst>
              <a:gd name="connsiteX0" fmla="*/ 3911878 w 4032451"/>
              <a:gd name="connsiteY0" fmla="*/ 33 h 4108918"/>
              <a:gd name="connsiteX1" fmla="*/ 4032448 w 4032451"/>
              <a:gd name="connsiteY1" fmla="*/ 200799 h 4108918"/>
              <a:gd name="connsiteX2" fmla="*/ 4025153 w 4032451"/>
              <a:gd name="connsiteY2" fmla="*/ 2032476 h 4108918"/>
              <a:gd name="connsiteX3" fmla="*/ 3747489 w 4032451"/>
              <a:gd name="connsiteY3" fmla="*/ 2681580 h 4108918"/>
              <a:gd name="connsiteX4" fmla="*/ 2266015 w 4032451"/>
              <a:gd name="connsiteY4" fmla="*/ 4108918 h 4108918"/>
              <a:gd name="connsiteX5" fmla="*/ 0 w 4032451"/>
              <a:gd name="connsiteY5" fmla="*/ 4108918 h 4108918"/>
              <a:gd name="connsiteX6" fmla="*/ 0 w 4032451"/>
              <a:gd name="connsiteY6" fmla="*/ 4076960 h 4108918"/>
              <a:gd name="connsiteX7" fmla="*/ 276365 w 4032451"/>
              <a:gd name="connsiteY7" fmla="*/ 3428109 h 4108918"/>
              <a:gd name="connsiteX8" fmla="*/ 3757647 w 4032451"/>
              <a:gd name="connsiteY8" fmla="*/ 83061 h 4108918"/>
              <a:gd name="connsiteX9" fmla="*/ 3911878 w 4032451"/>
              <a:gd name="connsiteY9" fmla="*/ 33 h 4108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32451" h="4108918">
                <a:moveTo>
                  <a:pt x="3911878" y="33"/>
                </a:moveTo>
                <a:cubicBezTo>
                  <a:pt x="3985094" y="-1741"/>
                  <a:pt x="4032937" y="68445"/>
                  <a:pt x="4032448" y="200799"/>
                </a:cubicBezTo>
                <a:lnTo>
                  <a:pt x="4025153" y="2032476"/>
                </a:lnTo>
                <a:cubicBezTo>
                  <a:pt x="4025153" y="2244242"/>
                  <a:pt x="3899866" y="2534676"/>
                  <a:pt x="3747489" y="2681580"/>
                </a:cubicBezTo>
                <a:lnTo>
                  <a:pt x="2266015" y="4108918"/>
                </a:lnTo>
                <a:lnTo>
                  <a:pt x="0" y="4108918"/>
                </a:lnTo>
                <a:lnTo>
                  <a:pt x="0" y="4076960"/>
                </a:lnTo>
                <a:cubicBezTo>
                  <a:pt x="0" y="3865188"/>
                  <a:pt x="123729" y="3574760"/>
                  <a:pt x="276365" y="3428109"/>
                </a:cubicBezTo>
                <a:lnTo>
                  <a:pt x="3757647" y="83061"/>
                </a:lnTo>
                <a:cubicBezTo>
                  <a:pt x="3814886" y="28069"/>
                  <a:pt x="3867949" y="1098"/>
                  <a:pt x="3911878" y="3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26" name="Text Placeholder 125">
            <a:extLst>
              <a:ext uri="{FF2B5EF4-FFF2-40B4-BE49-F238E27FC236}">
                <a16:creationId xmlns:a16="http://schemas.microsoft.com/office/drawing/2014/main" id="{1BAA0479-3CF9-2EEE-785C-8BC352D3FE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" y="909496"/>
            <a:ext cx="2870583" cy="5948505"/>
          </a:xfrm>
          <a:custGeom>
            <a:avLst/>
            <a:gdLst>
              <a:gd name="connsiteX0" fmla="*/ 2685589 w 2870583"/>
              <a:gd name="connsiteY0" fmla="*/ 55 h 5948505"/>
              <a:gd name="connsiteX1" fmla="*/ 2870583 w 2870583"/>
              <a:gd name="connsiteY1" fmla="*/ 305049 h 5948505"/>
              <a:gd name="connsiteX2" fmla="*/ 2870583 w 2870583"/>
              <a:gd name="connsiteY2" fmla="*/ 3090079 h 5948505"/>
              <a:gd name="connsiteX3" fmla="*/ 2450374 w 2870583"/>
              <a:gd name="connsiteY3" fmla="*/ 4076647 h 5948505"/>
              <a:gd name="connsiteX4" fmla="*/ 502282 w 2870583"/>
              <a:gd name="connsiteY4" fmla="*/ 5948505 h 5948505"/>
              <a:gd name="connsiteX5" fmla="*/ 0 w 2870583"/>
              <a:gd name="connsiteY5" fmla="*/ 5948505 h 5948505"/>
              <a:gd name="connsiteX6" fmla="*/ 0 w 2870583"/>
              <a:gd name="connsiteY6" fmla="*/ 2487636 h 5948505"/>
              <a:gd name="connsiteX7" fmla="*/ 2450768 w 2870583"/>
              <a:gd name="connsiteY7" fmla="*/ 126424 h 5948505"/>
              <a:gd name="connsiteX8" fmla="*/ 2685589 w 2870583"/>
              <a:gd name="connsiteY8" fmla="*/ 55 h 5948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70583" h="5948505">
                <a:moveTo>
                  <a:pt x="2685589" y="55"/>
                </a:moveTo>
                <a:cubicBezTo>
                  <a:pt x="2797249" y="-2761"/>
                  <a:pt x="2870583" y="103801"/>
                  <a:pt x="2870583" y="305049"/>
                </a:cubicBezTo>
                <a:lnTo>
                  <a:pt x="2870583" y="3090079"/>
                </a:lnTo>
                <a:cubicBezTo>
                  <a:pt x="2870583" y="3412076"/>
                  <a:pt x="2682455" y="3853667"/>
                  <a:pt x="2450374" y="4076647"/>
                </a:cubicBezTo>
                <a:lnTo>
                  <a:pt x="502282" y="5948505"/>
                </a:lnTo>
                <a:lnTo>
                  <a:pt x="0" y="5948505"/>
                </a:lnTo>
                <a:lnTo>
                  <a:pt x="0" y="2487636"/>
                </a:lnTo>
                <a:lnTo>
                  <a:pt x="2450768" y="126424"/>
                </a:lnTo>
                <a:cubicBezTo>
                  <a:pt x="2537798" y="42809"/>
                  <a:pt x="2618592" y="1744"/>
                  <a:pt x="2685589" y="55"/>
                </a:cubicBezTo>
                <a:close/>
              </a:path>
            </a:pathLst>
          </a:custGeom>
          <a:solidFill>
            <a:srgbClr val="CBD300">
              <a:alpha val="2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CBD300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DED43CDE-8825-7B84-10F8-B5878BE7F4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18004" y="1764973"/>
            <a:ext cx="7085111" cy="20283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8" name="Title 6">
            <a:extLst>
              <a:ext uri="{FF2B5EF4-FFF2-40B4-BE49-F238E27FC236}">
                <a16:creationId xmlns:a16="http://schemas.microsoft.com/office/drawing/2014/main" id="{92A898D0-CA5F-6642-1485-0E937CBB1A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8439" y="332657"/>
            <a:ext cx="708467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1D16556E-5ACE-BAC5-E36D-613DAEF1D27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896757" y="4015034"/>
            <a:ext cx="3120203" cy="2842967"/>
          </a:xfrm>
          <a:custGeom>
            <a:avLst/>
            <a:gdLst>
              <a:gd name="connsiteX0" fmla="*/ 3016855 w 3120203"/>
              <a:gd name="connsiteY0" fmla="*/ 29 h 2842967"/>
              <a:gd name="connsiteX1" fmla="*/ 3120200 w 3120203"/>
              <a:gd name="connsiteY1" fmla="*/ 172113 h 2842967"/>
              <a:gd name="connsiteX2" fmla="*/ 3113947 w 3120203"/>
              <a:gd name="connsiteY2" fmla="*/ 1742123 h 2842967"/>
              <a:gd name="connsiteX3" fmla="*/ 2875949 w 3120203"/>
              <a:gd name="connsiteY3" fmla="*/ 2298497 h 2842967"/>
              <a:gd name="connsiteX4" fmla="*/ 2310829 w 3120203"/>
              <a:gd name="connsiteY4" fmla="*/ 2842967 h 2842967"/>
              <a:gd name="connsiteX5" fmla="*/ 0 w 3120203"/>
              <a:gd name="connsiteY5" fmla="*/ 2842967 h 2842967"/>
              <a:gd name="connsiteX6" fmla="*/ 2884657 w 3120203"/>
              <a:gd name="connsiteY6" fmla="*/ 71195 h 2842967"/>
              <a:gd name="connsiteX7" fmla="*/ 3016855 w 3120203"/>
              <a:gd name="connsiteY7" fmla="*/ 29 h 2842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20203" h="2842967">
                <a:moveTo>
                  <a:pt x="3016855" y="29"/>
                </a:moveTo>
                <a:cubicBezTo>
                  <a:pt x="3079611" y="-1493"/>
                  <a:pt x="3120619" y="58667"/>
                  <a:pt x="3120200" y="172113"/>
                </a:cubicBezTo>
                <a:lnTo>
                  <a:pt x="3113947" y="1742123"/>
                </a:lnTo>
                <a:cubicBezTo>
                  <a:pt x="3113947" y="1923637"/>
                  <a:pt x="3006558" y="2172580"/>
                  <a:pt x="2875949" y="2298497"/>
                </a:cubicBezTo>
                <a:lnTo>
                  <a:pt x="2310829" y="2842967"/>
                </a:lnTo>
                <a:lnTo>
                  <a:pt x="0" y="2842967"/>
                </a:lnTo>
                <a:lnTo>
                  <a:pt x="2884657" y="71195"/>
                </a:lnTo>
                <a:cubicBezTo>
                  <a:pt x="2933718" y="24059"/>
                  <a:pt x="2979201" y="941"/>
                  <a:pt x="3016855" y="2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8557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solidFill>
          <a:srgbClr val="2725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758A17F-5411-922C-DAE5-0FD693301FE2}"/>
              </a:ext>
            </a:extLst>
          </p:cNvPr>
          <p:cNvSpPr/>
          <p:nvPr userDrawn="1"/>
        </p:nvSpPr>
        <p:spPr>
          <a:xfrm>
            <a:off x="0" y="926271"/>
            <a:ext cx="5355203" cy="5931729"/>
          </a:xfrm>
          <a:custGeom>
            <a:avLst/>
            <a:gdLst>
              <a:gd name="connsiteX0" fmla="*/ 5186481 w 5355203"/>
              <a:gd name="connsiteY0" fmla="*/ 50 h 5931729"/>
              <a:gd name="connsiteX1" fmla="*/ 5355203 w 5355203"/>
              <a:gd name="connsiteY1" fmla="*/ 278216 h 5931729"/>
              <a:gd name="connsiteX2" fmla="*/ 5355203 w 5355203"/>
              <a:gd name="connsiteY2" fmla="*/ 2818263 h 5931729"/>
              <a:gd name="connsiteX3" fmla="*/ 4971958 w 5355203"/>
              <a:gd name="connsiteY3" fmla="*/ 3718048 h 5931729"/>
              <a:gd name="connsiteX4" fmla="*/ 2668121 w 5355203"/>
              <a:gd name="connsiteY4" fmla="*/ 5931729 h 5931729"/>
              <a:gd name="connsiteX5" fmla="*/ 0 w 5355203"/>
              <a:gd name="connsiteY5" fmla="*/ 5931729 h 5931729"/>
              <a:gd name="connsiteX6" fmla="*/ 0 w 5355203"/>
              <a:gd name="connsiteY6" fmla="*/ 4954140 h 5931729"/>
              <a:gd name="connsiteX7" fmla="*/ 9114 w 5355203"/>
              <a:gd name="connsiteY7" fmla="*/ 4938582 h 5931729"/>
              <a:gd name="connsiteX8" fmla="*/ 158423 w 5355203"/>
              <a:gd name="connsiteY8" fmla="*/ 4753289 h 5931729"/>
              <a:gd name="connsiteX9" fmla="*/ 4972316 w 5355203"/>
              <a:gd name="connsiteY9" fmla="*/ 115303 h 5931729"/>
              <a:gd name="connsiteX10" fmla="*/ 5186481 w 5355203"/>
              <a:gd name="connsiteY10" fmla="*/ 50 h 5931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355203" h="5931729">
                <a:moveTo>
                  <a:pt x="5186481" y="50"/>
                </a:moveTo>
                <a:cubicBezTo>
                  <a:pt x="5288320" y="-2518"/>
                  <a:pt x="5355203" y="94671"/>
                  <a:pt x="5355203" y="278216"/>
                </a:cubicBezTo>
                <a:lnTo>
                  <a:pt x="5355203" y="2818263"/>
                </a:lnTo>
                <a:cubicBezTo>
                  <a:pt x="5355203" y="3111935"/>
                  <a:pt x="5183624" y="3514682"/>
                  <a:pt x="4971958" y="3718048"/>
                </a:cubicBezTo>
                <a:lnTo>
                  <a:pt x="2668121" y="5931729"/>
                </a:lnTo>
                <a:lnTo>
                  <a:pt x="0" y="5931729"/>
                </a:lnTo>
                <a:lnTo>
                  <a:pt x="0" y="4954140"/>
                </a:lnTo>
                <a:lnTo>
                  <a:pt x="9114" y="4938582"/>
                </a:lnTo>
                <a:cubicBezTo>
                  <a:pt x="55118" y="4867587"/>
                  <a:pt x="105596" y="4804218"/>
                  <a:pt x="158423" y="4753289"/>
                </a:cubicBezTo>
                <a:lnTo>
                  <a:pt x="4972316" y="115303"/>
                </a:lnTo>
                <a:cubicBezTo>
                  <a:pt x="5051691" y="39043"/>
                  <a:pt x="5125378" y="1591"/>
                  <a:pt x="5186481" y="50"/>
                </a:cubicBezTo>
                <a:close/>
              </a:path>
            </a:pathLst>
          </a:custGeom>
          <a:solidFill>
            <a:srgbClr val="7E003F">
              <a:alpha val="5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162C6DF5-C2E4-83DF-706D-331B56D3697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34544" y="-27384"/>
            <a:ext cx="8765153" cy="6885385"/>
          </a:xfrm>
          <a:custGeom>
            <a:avLst/>
            <a:gdLst>
              <a:gd name="connsiteX0" fmla="*/ 7083139 w 8765153"/>
              <a:gd name="connsiteY0" fmla="*/ 0 h 6824309"/>
              <a:gd name="connsiteX1" fmla="*/ 8765153 w 8765153"/>
              <a:gd name="connsiteY1" fmla="*/ 0 h 6824309"/>
              <a:gd name="connsiteX2" fmla="*/ 8765153 w 8765153"/>
              <a:gd name="connsiteY2" fmla="*/ 5076952 h 6824309"/>
              <a:gd name="connsiteX3" fmla="*/ 8254822 w 8765153"/>
              <a:gd name="connsiteY3" fmla="*/ 6635190 h 6824309"/>
              <a:gd name="connsiteX4" fmla="*/ 8118882 w 8765153"/>
              <a:gd name="connsiteY4" fmla="*/ 6824309 h 6824309"/>
              <a:gd name="connsiteX5" fmla="*/ 0 w 8765153"/>
              <a:gd name="connsiteY5" fmla="*/ 6824309 h 6824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65153" h="6824309">
                <a:moveTo>
                  <a:pt x="7083139" y="0"/>
                </a:moveTo>
                <a:lnTo>
                  <a:pt x="8765153" y="0"/>
                </a:lnTo>
                <a:lnTo>
                  <a:pt x="8765153" y="5076952"/>
                </a:lnTo>
                <a:cubicBezTo>
                  <a:pt x="8765153" y="5557168"/>
                  <a:pt x="8554727" y="6171153"/>
                  <a:pt x="8254822" y="6635190"/>
                </a:cubicBezTo>
                <a:lnTo>
                  <a:pt x="8118882" y="6824309"/>
                </a:lnTo>
                <a:lnTo>
                  <a:pt x="0" y="682430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r">
              <a:defRPr b="0"/>
            </a:lvl1pPr>
          </a:lstStyle>
          <a:p>
            <a:endParaRPr lang="en-GB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AC4A753-06B1-6046-EC00-AFBCE66C2F6B}"/>
              </a:ext>
            </a:extLst>
          </p:cNvPr>
          <p:cNvSpPr/>
          <p:nvPr userDrawn="1"/>
        </p:nvSpPr>
        <p:spPr>
          <a:xfrm>
            <a:off x="2279576" y="1124744"/>
            <a:ext cx="1885142" cy="2856035"/>
          </a:xfrm>
          <a:custGeom>
            <a:avLst/>
            <a:gdLst>
              <a:gd name="connsiteX0" fmla="*/ 1805 w 716872"/>
              <a:gd name="connsiteY0" fmla="*/ 724844 h 1086078"/>
              <a:gd name="connsiteX1" fmla="*/ 51167 w 716872"/>
              <a:gd name="connsiteY1" fmla="*/ 609449 h 1086078"/>
              <a:gd name="connsiteX2" fmla="*/ 668295 w 716872"/>
              <a:gd name="connsiteY2" fmla="*/ 14872 h 1086078"/>
              <a:gd name="connsiteX3" fmla="*/ 717380 w 716872"/>
              <a:gd name="connsiteY3" fmla="*/ 35757 h 1086078"/>
              <a:gd name="connsiteX4" fmla="*/ 717380 w 716872"/>
              <a:gd name="connsiteY4" fmla="*/ 361384 h 1086078"/>
              <a:gd name="connsiteX5" fmla="*/ 668249 w 716872"/>
              <a:gd name="connsiteY5" fmla="*/ 476734 h 1086078"/>
              <a:gd name="connsiteX6" fmla="*/ 49361 w 716872"/>
              <a:gd name="connsiteY6" fmla="*/ 1071403 h 1086078"/>
              <a:gd name="connsiteX7" fmla="*/ 508 w 716872"/>
              <a:gd name="connsiteY7" fmla="*/ 1050472 h 1086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6872" h="1086078">
                <a:moveTo>
                  <a:pt x="1805" y="724844"/>
                </a:moveTo>
                <a:cubicBezTo>
                  <a:pt x="1805" y="687197"/>
                  <a:pt x="24078" y="635565"/>
                  <a:pt x="51167" y="609449"/>
                </a:cubicBezTo>
                <a:lnTo>
                  <a:pt x="668295" y="14872"/>
                </a:lnTo>
                <a:cubicBezTo>
                  <a:pt x="695430" y="-11198"/>
                  <a:pt x="717380" y="-1891"/>
                  <a:pt x="717380" y="35757"/>
                </a:cubicBezTo>
                <a:lnTo>
                  <a:pt x="717380" y="361384"/>
                </a:lnTo>
                <a:cubicBezTo>
                  <a:pt x="717380" y="399032"/>
                  <a:pt x="695384" y="450663"/>
                  <a:pt x="668249" y="476734"/>
                </a:cubicBezTo>
                <a:lnTo>
                  <a:pt x="49361" y="1071403"/>
                </a:lnTo>
                <a:cubicBezTo>
                  <a:pt x="22226" y="1097473"/>
                  <a:pt x="369" y="1088119"/>
                  <a:pt x="508" y="1050472"/>
                </a:cubicBezTo>
                <a:close/>
              </a:path>
            </a:pathLst>
          </a:custGeom>
          <a:solidFill>
            <a:schemeClr val="accent4">
              <a:alpha val="50000"/>
            </a:schemeClr>
          </a:solidFill>
          <a:ln w="463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1" name="Text Placeholder 120">
            <a:extLst>
              <a:ext uri="{FF2B5EF4-FFF2-40B4-BE49-F238E27FC236}">
                <a16:creationId xmlns:a16="http://schemas.microsoft.com/office/drawing/2014/main" id="{5AD9F435-A7F4-4F99-4CFF-20A81BD375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73123" y="1633525"/>
            <a:ext cx="3384379" cy="5127414"/>
          </a:xfrm>
          <a:custGeom>
            <a:avLst/>
            <a:gdLst>
              <a:gd name="connsiteX0" fmla="*/ 102114 w 3384379"/>
              <a:gd name="connsiteY0" fmla="*/ 31 h 5127414"/>
              <a:gd name="connsiteX1" fmla="*/ 231732 w 3384379"/>
              <a:gd name="connsiteY1" fmla="*/ 69784 h 5127414"/>
              <a:gd name="connsiteX2" fmla="*/ 3145213 w 3384379"/>
              <a:gd name="connsiteY2" fmla="*/ 2876802 h 5127414"/>
              <a:gd name="connsiteX3" fmla="*/ 3378253 w 3384379"/>
              <a:gd name="connsiteY3" fmla="*/ 3421586 h 5127414"/>
              <a:gd name="connsiteX4" fmla="*/ 3384376 w 3384379"/>
              <a:gd name="connsiteY4" fmla="*/ 4958887 h 5127414"/>
              <a:gd name="connsiteX5" fmla="*/ 3153739 w 3384379"/>
              <a:gd name="connsiteY5" fmla="*/ 5057703 h 5127414"/>
              <a:gd name="connsiteX6" fmla="*/ 231949 w 3384379"/>
              <a:gd name="connsiteY6" fmla="*/ 2250250 h 5127414"/>
              <a:gd name="connsiteX7" fmla="*/ 0 w 3384379"/>
              <a:gd name="connsiteY7" fmla="*/ 1705679 h 5127414"/>
              <a:gd name="connsiteX8" fmla="*/ 0 w 3384379"/>
              <a:gd name="connsiteY8" fmla="*/ 168383 h 5127414"/>
              <a:gd name="connsiteX9" fmla="*/ 102114 w 3384379"/>
              <a:gd name="connsiteY9" fmla="*/ 31 h 5127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84379" h="5127414">
                <a:moveTo>
                  <a:pt x="102114" y="31"/>
                </a:moveTo>
                <a:cubicBezTo>
                  <a:pt x="139095" y="963"/>
                  <a:pt x="183692" y="23630"/>
                  <a:pt x="231732" y="69784"/>
                </a:cubicBezTo>
                <a:lnTo>
                  <a:pt x="3145213" y="2876802"/>
                </a:lnTo>
                <a:cubicBezTo>
                  <a:pt x="3273101" y="3000097"/>
                  <a:pt x="3378253" y="3243853"/>
                  <a:pt x="3378253" y="3421586"/>
                </a:cubicBezTo>
                <a:lnTo>
                  <a:pt x="3384376" y="4958887"/>
                </a:lnTo>
                <a:cubicBezTo>
                  <a:pt x="3385032" y="5136620"/>
                  <a:pt x="3281845" y="5180780"/>
                  <a:pt x="3153739" y="5057703"/>
                </a:cubicBezTo>
                <a:lnTo>
                  <a:pt x="231949" y="2250250"/>
                </a:lnTo>
                <a:cubicBezTo>
                  <a:pt x="103844" y="2127168"/>
                  <a:pt x="0" y="1883417"/>
                  <a:pt x="0" y="1705679"/>
                </a:cubicBezTo>
                <a:lnTo>
                  <a:pt x="0" y="168383"/>
                </a:lnTo>
                <a:cubicBezTo>
                  <a:pt x="0" y="57297"/>
                  <a:pt x="40479" y="-1524"/>
                  <a:pt x="102114" y="31"/>
                </a:cubicBezTo>
                <a:close/>
              </a:path>
            </a:pathLst>
          </a:custGeom>
          <a:solidFill>
            <a:srgbClr val="38B6AB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0ACC4E2B-F090-66AC-388C-54C827EFCB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9" y="2636913"/>
            <a:ext cx="10944224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nter titl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55883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6" grpId="0" animBg="1"/>
      <p:bldP spid="9" grpId="0" animBg="1"/>
      <p:bldP spid="121" grpId="0" uiExpand="1" build="p" animBg="1">
        <p:tmplLst>
          <p:tmpl>
            <p:tnLst>
              <p:par>
                <p:cTn presetID="2" presetClass="entr" presetSubtype="1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1" decel="100000" fill="hold" nodeType="withEffect" nodePh="1">
                  <p:stCondLst>
                    <p:cond delay="7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build="p">
        <p:tmplLst>
          <p:tmpl lvl="2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B40599C-4C0F-475E-A2C1-B16A0CE59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1044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B40599C-4C0F-475E-A2C1-B16A0CE59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AE49D000-408C-4824-9FA5-437F0857B1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14860" y="-2"/>
            <a:ext cx="5477141" cy="6858002"/>
          </a:xfrm>
          <a:custGeom>
            <a:avLst/>
            <a:gdLst>
              <a:gd name="connsiteX0" fmla="*/ 3986471 w 5477141"/>
              <a:gd name="connsiteY0" fmla="*/ 0 h 6858002"/>
              <a:gd name="connsiteX1" fmla="*/ 5477141 w 5477141"/>
              <a:gd name="connsiteY1" fmla="*/ 0 h 6858002"/>
              <a:gd name="connsiteX2" fmla="*/ 5477141 w 5477141"/>
              <a:gd name="connsiteY2" fmla="*/ 5978697 h 6858002"/>
              <a:gd name="connsiteX3" fmla="*/ 4566103 w 5477141"/>
              <a:gd name="connsiteY3" fmla="*/ 6858002 h 6858002"/>
              <a:gd name="connsiteX4" fmla="*/ 0 w 5477141"/>
              <a:gd name="connsiteY4" fmla="*/ 6858002 h 6858002"/>
              <a:gd name="connsiteX5" fmla="*/ 10973 w 5477141"/>
              <a:gd name="connsiteY5" fmla="*/ 4194085 h 6858002"/>
              <a:gd name="connsiteX6" fmla="*/ 262590 w 5477141"/>
              <a:gd name="connsiteY6" fmla="*/ 3603624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77141" h="6858002">
                <a:moveTo>
                  <a:pt x="3986471" y="0"/>
                </a:moveTo>
                <a:lnTo>
                  <a:pt x="5477141" y="0"/>
                </a:lnTo>
                <a:lnTo>
                  <a:pt x="5477141" y="5978697"/>
                </a:lnTo>
                <a:lnTo>
                  <a:pt x="4566103" y="6858002"/>
                </a:lnTo>
                <a:lnTo>
                  <a:pt x="0" y="6858002"/>
                </a:lnTo>
                <a:lnTo>
                  <a:pt x="10973" y="4194085"/>
                </a:lnTo>
                <a:cubicBezTo>
                  <a:pt x="11711" y="4001686"/>
                  <a:pt x="124372" y="3737295"/>
                  <a:pt x="262590" y="3603624"/>
                </a:cubicBezTo>
                <a:close/>
              </a:path>
            </a:pathLst>
          </a:custGeom>
          <a:solidFill>
            <a:srgbClr val="97BE0D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CF89D1-5F6C-4FE0-93BA-66FADB691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93C09CD9-332B-46FA-AFE2-208CC7A7511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761482" y="300589"/>
            <a:ext cx="3430518" cy="5720327"/>
          </a:xfrm>
          <a:custGeom>
            <a:avLst/>
            <a:gdLst>
              <a:gd name="connsiteX0" fmla="*/ 117485 w 3430518"/>
              <a:gd name="connsiteY0" fmla="*/ 56 h 5720327"/>
              <a:gd name="connsiteX1" fmla="*/ 267840 w 3430518"/>
              <a:gd name="connsiteY1" fmla="*/ 82765 h 5720327"/>
              <a:gd name="connsiteX2" fmla="*/ 3430518 w 3430518"/>
              <a:gd name="connsiteY2" fmla="*/ 3169975 h 5720327"/>
              <a:gd name="connsiteX3" fmla="*/ 3430518 w 3430518"/>
              <a:gd name="connsiteY3" fmla="*/ 5720327 h 5720327"/>
              <a:gd name="connsiteX4" fmla="*/ 277667 w 3430518"/>
              <a:gd name="connsiteY4" fmla="*/ 2635413 h 5720327"/>
              <a:gd name="connsiteX5" fmla="*/ 7377 w 3430518"/>
              <a:gd name="connsiteY5" fmla="*/ 1995687 h 5720327"/>
              <a:gd name="connsiteX6" fmla="*/ 5 w 3430518"/>
              <a:gd name="connsiteY6" fmla="*/ 196289 h 5720327"/>
              <a:gd name="connsiteX7" fmla="*/ 117485 w 3430518"/>
              <a:gd name="connsiteY7" fmla="*/ 56 h 5720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30518" h="5720327">
                <a:moveTo>
                  <a:pt x="117485" y="56"/>
                </a:moveTo>
                <a:cubicBezTo>
                  <a:pt x="160312" y="1425"/>
                  <a:pt x="212046" y="28308"/>
                  <a:pt x="267840" y="82765"/>
                </a:cubicBezTo>
                <a:lnTo>
                  <a:pt x="3430518" y="3169975"/>
                </a:lnTo>
                <a:lnTo>
                  <a:pt x="3430518" y="5720327"/>
                </a:lnTo>
                <a:lnTo>
                  <a:pt x="277667" y="2635413"/>
                </a:lnTo>
                <a:cubicBezTo>
                  <a:pt x="129375" y="2489948"/>
                  <a:pt x="8237" y="2203562"/>
                  <a:pt x="7377" y="1995687"/>
                </a:cubicBezTo>
                <a:lnTo>
                  <a:pt x="5" y="196289"/>
                </a:lnTo>
                <a:cubicBezTo>
                  <a:pt x="-532" y="66365"/>
                  <a:pt x="46106" y="-2226"/>
                  <a:pt x="117485" y="5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8272B9A-06E7-4C48-AA43-5AB2FEE13A4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55062" y="4375974"/>
            <a:ext cx="2679466" cy="2482023"/>
          </a:xfrm>
          <a:custGeom>
            <a:avLst/>
            <a:gdLst>
              <a:gd name="connsiteX0" fmla="*/ 3495324 w 3619869"/>
              <a:gd name="connsiteY0" fmla="*/ 64 h 3353130"/>
              <a:gd name="connsiteX1" fmla="*/ 3619869 w 3619869"/>
              <a:gd name="connsiteY1" fmla="*/ 206007 h 3353130"/>
              <a:gd name="connsiteX2" fmla="*/ 3619869 w 3619869"/>
              <a:gd name="connsiteY2" fmla="*/ 2095951 h 3353130"/>
              <a:gd name="connsiteX3" fmla="*/ 3337292 w 3619869"/>
              <a:gd name="connsiteY3" fmla="*/ 2767747 h 3353130"/>
              <a:gd name="connsiteX4" fmla="*/ 2737494 w 3619869"/>
              <a:gd name="connsiteY4" fmla="*/ 3353130 h 3353130"/>
              <a:gd name="connsiteX5" fmla="*/ 0 w 3619869"/>
              <a:gd name="connsiteY5" fmla="*/ 3353130 h 3353130"/>
              <a:gd name="connsiteX6" fmla="*/ 3337292 w 3619869"/>
              <a:gd name="connsiteY6" fmla="*/ 87203 h 3353130"/>
              <a:gd name="connsiteX7" fmla="*/ 3495324 w 3619869"/>
              <a:gd name="connsiteY7" fmla="*/ 64 h 3353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19869" h="3353130">
                <a:moveTo>
                  <a:pt x="3495324" y="64"/>
                </a:moveTo>
                <a:cubicBezTo>
                  <a:pt x="3570486" y="-2440"/>
                  <a:pt x="3619869" y="69557"/>
                  <a:pt x="3619869" y="206007"/>
                </a:cubicBezTo>
                <a:lnTo>
                  <a:pt x="3619869" y="2095951"/>
                </a:lnTo>
                <a:cubicBezTo>
                  <a:pt x="3619869" y="2314395"/>
                  <a:pt x="3493078" y="2615156"/>
                  <a:pt x="3337292" y="2767747"/>
                </a:cubicBezTo>
                <a:lnTo>
                  <a:pt x="2737494" y="3353130"/>
                </a:lnTo>
                <a:lnTo>
                  <a:pt x="0" y="3353130"/>
                </a:lnTo>
                <a:lnTo>
                  <a:pt x="3337292" y="87203"/>
                </a:lnTo>
                <a:cubicBezTo>
                  <a:pt x="3395851" y="29890"/>
                  <a:pt x="3450228" y="1567"/>
                  <a:pt x="3495324" y="64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287D13C6-D8A0-4240-B399-3800A3934E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702658" y="579233"/>
            <a:ext cx="1489341" cy="3820884"/>
          </a:xfrm>
          <a:custGeom>
            <a:avLst/>
            <a:gdLst>
              <a:gd name="connsiteX0" fmla="*/ 117485 w 1489341"/>
              <a:gd name="connsiteY0" fmla="*/ 56 h 3820884"/>
              <a:gd name="connsiteX1" fmla="*/ 267840 w 1489341"/>
              <a:gd name="connsiteY1" fmla="*/ 82765 h 3820884"/>
              <a:gd name="connsiteX2" fmla="*/ 1489341 w 1489341"/>
              <a:gd name="connsiteY2" fmla="*/ 1274987 h 3820884"/>
              <a:gd name="connsiteX3" fmla="*/ 1489341 w 1489341"/>
              <a:gd name="connsiteY3" fmla="*/ 3820884 h 3820884"/>
              <a:gd name="connsiteX4" fmla="*/ 278035 w 1489341"/>
              <a:gd name="connsiteY4" fmla="*/ 2635414 h 3820884"/>
              <a:gd name="connsiteX5" fmla="*/ 7745 w 1489341"/>
              <a:gd name="connsiteY5" fmla="*/ 1995562 h 3820884"/>
              <a:gd name="connsiteX6" fmla="*/ 5 w 1489341"/>
              <a:gd name="connsiteY6" fmla="*/ 196289 h 3820884"/>
              <a:gd name="connsiteX7" fmla="*/ 117485 w 1489341"/>
              <a:gd name="connsiteY7" fmla="*/ 56 h 3820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9341" h="3820884">
                <a:moveTo>
                  <a:pt x="117485" y="56"/>
                </a:moveTo>
                <a:cubicBezTo>
                  <a:pt x="160312" y="1425"/>
                  <a:pt x="212046" y="28308"/>
                  <a:pt x="267840" y="82765"/>
                </a:cubicBezTo>
                <a:lnTo>
                  <a:pt x="1489341" y="1274987"/>
                </a:lnTo>
                <a:lnTo>
                  <a:pt x="1489341" y="3820884"/>
                </a:lnTo>
                <a:lnTo>
                  <a:pt x="278035" y="2635414"/>
                </a:lnTo>
                <a:cubicBezTo>
                  <a:pt x="129746" y="2489948"/>
                  <a:pt x="8605" y="2203565"/>
                  <a:pt x="7745" y="1995562"/>
                </a:cubicBezTo>
                <a:lnTo>
                  <a:pt x="5" y="196289"/>
                </a:lnTo>
                <a:cubicBezTo>
                  <a:pt x="-532" y="66365"/>
                  <a:pt x="46106" y="-2226"/>
                  <a:pt x="117485" y="56"/>
                </a:cubicBezTo>
                <a:close/>
              </a:path>
            </a:pathLst>
          </a:custGeom>
          <a:solidFill>
            <a:srgbClr val="750D68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4870C28F-9345-460D-8D2C-722BDDEB37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399642" y="2074095"/>
            <a:ext cx="792359" cy="2251289"/>
          </a:xfrm>
          <a:custGeom>
            <a:avLst/>
            <a:gdLst>
              <a:gd name="connsiteX0" fmla="*/ 792359 w 792359"/>
              <a:gd name="connsiteY0" fmla="*/ 0 h 2251289"/>
              <a:gd name="connsiteX1" fmla="*/ 792359 w 792359"/>
              <a:gd name="connsiteY1" fmla="*/ 1589453 h 2251289"/>
              <a:gd name="connsiteX2" fmla="*/ 167214 w 792359"/>
              <a:gd name="connsiteY2" fmla="*/ 2199598 h 2251289"/>
              <a:gd name="connsiteX3" fmla="*/ 3 w 792359"/>
              <a:gd name="connsiteY3" fmla="*/ 2128708 h 2251289"/>
              <a:gd name="connsiteX4" fmla="*/ 4550 w 792359"/>
              <a:gd name="connsiteY4" fmla="*/ 1005161 h 2251289"/>
              <a:gd name="connsiteX5" fmla="*/ 173480 w 792359"/>
              <a:gd name="connsiteY5" fmla="*/ 605622 h 2251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359" h="2251289">
                <a:moveTo>
                  <a:pt x="792359" y="0"/>
                </a:moveTo>
                <a:lnTo>
                  <a:pt x="792359" y="1589453"/>
                </a:lnTo>
                <a:lnTo>
                  <a:pt x="167214" y="2199598"/>
                </a:lnTo>
                <a:cubicBezTo>
                  <a:pt x="74334" y="2290269"/>
                  <a:pt x="-487" y="2258570"/>
                  <a:pt x="3" y="2128708"/>
                </a:cubicBezTo>
                <a:lnTo>
                  <a:pt x="4550" y="1005161"/>
                </a:lnTo>
                <a:cubicBezTo>
                  <a:pt x="4550" y="875299"/>
                  <a:pt x="80721" y="696539"/>
                  <a:pt x="173480" y="605622"/>
                </a:cubicBezTo>
                <a:close/>
              </a:path>
            </a:pathLst>
          </a:custGeom>
          <a:solidFill>
            <a:srgbClr val="F07E26">
              <a:alpha val="8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4427D09F-36B2-4E9E-B819-4E7BF5B516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556188" y="5517233"/>
            <a:ext cx="1565162" cy="1340768"/>
          </a:xfrm>
          <a:custGeom>
            <a:avLst/>
            <a:gdLst>
              <a:gd name="connsiteX0" fmla="*/ 710975 w 784278"/>
              <a:gd name="connsiteY0" fmla="*/ 73 h 671838"/>
              <a:gd name="connsiteX1" fmla="*/ 784278 w 784278"/>
              <a:gd name="connsiteY1" fmla="*/ 121712 h 671838"/>
              <a:gd name="connsiteX2" fmla="*/ 784278 w 784278"/>
              <a:gd name="connsiteY2" fmla="*/ 671838 h 671838"/>
              <a:gd name="connsiteX3" fmla="*/ 0 w 784278"/>
              <a:gd name="connsiteY3" fmla="*/ 671838 h 671838"/>
              <a:gd name="connsiteX4" fmla="*/ 618048 w 784278"/>
              <a:gd name="connsiteY4" fmla="*/ 53034 h 671838"/>
              <a:gd name="connsiteX5" fmla="*/ 710975 w 784278"/>
              <a:gd name="connsiteY5" fmla="*/ 73 h 671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4278" h="671838">
                <a:moveTo>
                  <a:pt x="710975" y="73"/>
                </a:moveTo>
                <a:cubicBezTo>
                  <a:pt x="755194" y="-2002"/>
                  <a:pt x="784278" y="40394"/>
                  <a:pt x="784278" y="121712"/>
                </a:cubicBezTo>
                <a:lnTo>
                  <a:pt x="784278" y="671838"/>
                </a:lnTo>
                <a:lnTo>
                  <a:pt x="0" y="671838"/>
                </a:lnTo>
                <a:lnTo>
                  <a:pt x="618048" y="53034"/>
                </a:lnTo>
                <a:cubicBezTo>
                  <a:pt x="652464" y="18572"/>
                  <a:pt x="684444" y="1318"/>
                  <a:pt x="710975" y="73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1C62B2A9-F38F-45C9-8332-68EFE3EA40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628801"/>
            <a:ext cx="5760145" cy="4105249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7" name="Title 11">
            <a:extLst>
              <a:ext uri="{FF2B5EF4-FFF2-40B4-BE49-F238E27FC236}">
                <a16:creationId xmlns:a16="http://schemas.microsoft.com/office/drawing/2014/main" id="{3E18813C-1B37-44D6-AE09-A794555E7B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7815651" cy="10801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756056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3" orient="horz" pos="3612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Text Placeholder 133">
            <a:extLst>
              <a:ext uri="{FF2B5EF4-FFF2-40B4-BE49-F238E27FC236}">
                <a16:creationId xmlns:a16="http://schemas.microsoft.com/office/drawing/2014/main" id="{23F52D78-230C-7431-5E48-931D061CCA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" y="0"/>
            <a:ext cx="4098689" cy="6858000"/>
          </a:xfrm>
          <a:custGeom>
            <a:avLst/>
            <a:gdLst>
              <a:gd name="connsiteX0" fmla="*/ 3070124 w 4098689"/>
              <a:gd name="connsiteY0" fmla="*/ 0 h 6858000"/>
              <a:gd name="connsiteX1" fmla="*/ 4098689 w 4098689"/>
              <a:gd name="connsiteY1" fmla="*/ 0 h 6858000"/>
              <a:gd name="connsiteX2" fmla="*/ 4098689 w 4098689"/>
              <a:gd name="connsiteY2" fmla="*/ 3644244 h 6858000"/>
              <a:gd name="connsiteX3" fmla="*/ 3520398 w 4098689"/>
              <a:gd name="connsiteY3" fmla="*/ 5001960 h 6858000"/>
              <a:gd name="connsiteX4" fmla="*/ 1588767 w 4098689"/>
              <a:gd name="connsiteY4" fmla="*/ 6858000 h 6858000"/>
              <a:gd name="connsiteX5" fmla="*/ 0 w 4098689"/>
              <a:gd name="connsiteY5" fmla="*/ 6858000 h 6858000"/>
              <a:gd name="connsiteX6" fmla="*/ 0 w 4098689"/>
              <a:gd name="connsiteY6" fmla="*/ 295793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8689" h="6858000">
                <a:moveTo>
                  <a:pt x="3070124" y="0"/>
                </a:moveTo>
                <a:lnTo>
                  <a:pt x="4098689" y="0"/>
                </a:lnTo>
                <a:lnTo>
                  <a:pt x="4098689" y="3644244"/>
                </a:lnTo>
                <a:cubicBezTo>
                  <a:pt x="4098689" y="4087376"/>
                  <a:pt x="3839788" y="4695094"/>
                  <a:pt x="3520398" y="5001960"/>
                </a:cubicBezTo>
                <a:lnTo>
                  <a:pt x="1588767" y="6858000"/>
                </a:lnTo>
                <a:lnTo>
                  <a:pt x="0" y="6858000"/>
                </a:lnTo>
                <a:lnTo>
                  <a:pt x="0" y="2957937"/>
                </a:lnTo>
                <a:close/>
              </a:path>
            </a:pathLst>
          </a:custGeom>
          <a:solidFill>
            <a:srgbClr val="005191">
              <a:alpha val="6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005191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24B80AE-CD07-4053-764F-D2D2EE73506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1201283"/>
            <a:ext cx="2894574" cy="5456097"/>
          </a:xfrm>
          <a:custGeom>
            <a:avLst/>
            <a:gdLst>
              <a:gd name="connsiteX0" fmla="*/ 2759851 w 2894574"/>
              <a:gd name="connsiteY0" fmla="*/ 40 h 5456097"/>
              <a:gd name="connsiteX1" fmla="*/ 2894574 w 2894574"/>
              <a:gd name="connsiteY1" fmla="*/ 222154 h 5456097"/>
              <a:gd name="connsiteX2" fmla="*/ 2894574 w 2894574"/>
              <a:gd name="connsiteY2" fmla="*/ 2250366 h 5456097"/>
              <a:gd name="connsiteX3" fmla="*/ 2588555 w 2894574"/>
              <a:gd name="connsiteY3" fmla="*/ 2968840 h 5456097"/>
              <a:gd name="connsiteX4" fmla="*/ 0 w 2894574"/>
              <a:gd name="connsiteY4" fmla="*/ 5456097 h 5456097"/>
              <a:gd name="connsiteX5" fmla="*/ 0 w 2894574"/>
              <a:gd name="connsiteY5" fmla="*/ 2586310 h 5456097"/>
              <a:gd name="connsiteX6" fmla="*/ 2588842 w 2894574"/>
              <a:gd name="connsiteY6" fmla="*/ 92068 h 5456097"/>
              <a:gd name="connsiteX7" fmla="*/ 2759851 w 2894574"/>
              <a:gd name="connsiteY7" fmla="*/ 40 h 5456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94574" h="5456097">
                <a:moveTo>
                  <a:pt x="2759851" y="40"/>
                </a:moveTo>
                <a:cubicBezTo>
                  <a:pt x="2841168" y="-2011"/>
                  <a:pt x="2894574" y="75594"/>
                  <a:pt x="2894574" y="222154"/>
                </a:cubicBezTo>
                <a:lnTo>
                  <a:pt x="2894574" y="2250366"/>
                </a:lnTo>
                <a:cubicBezTo>
                  <a:pt x="2894574" y="2484862"/>
                  <a:pt x="2757569" y="2806453"/>
                  <a:pt x="2588555" y="2968840"/>
                </a:cubicBezTo>
                <a:lnTo>
                  <a:pt x="0" y="5456097"/>
                </a:lnTo>
                <a:lnTo>
                  <a:pt x="0" y="2586310"/>
                </a:lnTo>
                <a:lnTo>
                  <a:pt x="2588842" y="92068"/>
                </a:lnTo>
                <a:cubicBezTo>
                  <a:pt x="2652222" y="31176"/>
                  <a:pt x="2711061" y="1270"/>
                  <a:pt x="2759851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0" name="Text Placeholder 16">
            <a:extLst>
              <a:ext uri="{FF2B5EF4-FFF2-40B4-BE49-F238E27FC236}">
                <a16:creationId xmlns:a16="http://schemas.microsoft.com/office/drawing/2014/main" id="{3616F16A-2EBD-FF57-821F-BEDC5EABA4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1" name="Title 6">
            <a:extLst>
              <a:ext uri="{FF2B5EF4-FFF2-40B4-BE49-F238E27FC236}">
                <a16:creationId xmlns:a16="http://schemas.microsoft.com/office/drawing/2014/main" id="{F433FC08-0F53-7D5A-16B3-BEF9BC1A81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7" name="Text Placeholder 136">
            <a:extLst>
              <a:ext uri="{FF2B5EF4-FFF2-40B4-BE49-F238E27FC236}">
                <a16:creationId xmlns:a16="http://schemas.microsoft.com/office/drawing/2014/main" id="{60576821-C4B3-606F-FA98-DE0E26E257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" y="949365"/>
            <a:ext cx="1491321" cy="3079866"/>
          </a:xfrm>
          <a:custGeom>
            <a:avLst/>
            <a:gdLst>
              <a:gd name="connsiteX0" fmla="*/ 1408371 w 1491321"/>
              <a:gd name="connsiteY0" fmla="*/ 25 h 3079866"/>
              <a:gd name="connsiteX1" fmla="*/ 1436224 w 1491321"/>
              <a:gd name="connsiteY1" fmla="*/ 5100 h 3079866"/>
              <a:gd name="connsiteX2" fmla="*/ 1491321 w 1491321"/>
              <a:gd name="connsiteY2" fmla="*/ 136783 h 3079866"/>
              <a:gd name="connsiteX3" fmla="*/ 1491321 w 1491321"/>
              <a:gd name="connsiteY3" fmla="*/ 1385578 h 3079866"/>
              <a:gd name="connsiteX4" fmla="*/ 1302902 w 1491321"/>
              <a:gd name="connsiteY4" fmla="*/ 1827951 h 3079866"/>
              <a:gd name="connsiteX5" fmla="*/ 0 w 1491321"/>
              <a:gd name="connsiteY5" fmla="*/ 3079866 h 3079866"/>
              <a:gd name="connsiteX6" fmla="*/ 0 w 1491321"/>
              <a:gd name="connsiteY6" fmla="*/ 1312149 h 3079866"/>
              <a:gd name="connsiteX7" fmla="*/ 1303078 w 1491321"/>
              <a:gd name="connsiteY7" fmla="*/ 56688 h 3079866"/>
              <a:gd name="connsiteX8" fmla="*/ 1408371 w 1491321"/>
              <a:gd name="connsiteY8" fmla="*/ 25 h 3079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91321" h="3079866">
                <a:moveTo>
                  <a:pt x="1408371" y="25"/>
                </a:moveTo>
                <a:cubicBezTo>
                  <a:pt x="1418385" y="-228"/>
                  <a:pt x="1427711" y="1482"/>
                  <a:pt x="1436224" y="5100"/>
                </a:cubicBezTo>
                <a:cubicBezTo>
                  <a:pt x="1470277" y="19573"/>
                  <a:pt x="1491321" y="64592"/>
                  <a:pt x="1491321" y="136783"/>
                </a:cubicBezTo>
                <a:lnTo>
                  <a:pt x="1491321" y="1385578"/>
                </a:lnTo>
                <a:cubicBezTo>
                  <a:pt x="1491321" y="1529960"/>
                  <a:pt x="1406966" y="1727967"/>
                  <a:pt x="1302902" y="1827951"/>
                </a:cubicBezTo>
                <a:lnTo>
                  <a:pt x="0" y="3079866"/>
                </a:lnTo>
                <a:lnTo>
                  <a:pt x="0" y="1312149"/>
                </a:lnTo>
                <a:lnTo>
                  <a:pt x="1303078" y="56688"/>
                </a:lnTo>
                <a:cubicBezTo>
                  <a:pt x="1342102" y="19196"/>
                  <a:pt x="1378330" y="782"/>
                  <a:pt x="1408371" y="25"/>
                </a:cubicBezTo>
                <a:close/>
              </a:path>
            </a:pathLst>
          </a:custGeom>
          <a:solidFill>
            <a:srgbClr val="F07E26">
              <a:alpha val="35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1" name="Text Placeholder 140">
            <a:extLst>
              <a:ext uri="{FF2B5EF4-FFF2-40B4-BE49-F238E27FC236}">
                <a16:creationId xmlns:a16="http://schemas.microsoft.com/office/drawing/2014/main" id="{EE94B476-1FBF-439D-7B43-D444A70406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0740" y="4291002"/>
            <a:ext cx="2822963" cy="2566999"/>
          </a:xfrm>
          <a:custGeom>
            <a:avLst/>
            <a:gdLst>
              <a:gd name="connsiteX0" fmla="*/ 101667 w 2822963"/>
              <a:gd name="connsiteY0" fmla="*/ 30 h 2566999"/>
              <a:gd name="connsiteX1" fmla="*/ 230717 w 2822963"/>
              <a:gd name="connsiteY1" fmla="*/ 69478 h 2566999"/>
              <a:gd name="connsiteX2" fmla="*/ 2822963 w 2822963"/>
              <a:gd name="connsiteY2" fmla="*/ 2566999 h 2566999"/>
              <a:gd name="connsiteX3" fmla="*/ 570843 w 2822963"/>
              <a:gd name="connsiteY3" fmla="*/ 2566999 h 2566999"/>
              <a:gd name="connsiteX4" fmla="*/ 230933 w 2822963"/>
              <a:gd name="connsiteY4" fmla="*/ 2240391 h 2566999"/>
              <a:gd name="connsiteX5" fmla="*/ 0 w 2822963"/>
              <a:gd name="connsiteY5" fmla="*/ 1698206 h 2566999"/>
              <a:gd name="connsiteX6" fmla="*/ 0 w 2822963"/>
              <a:gd name="connsiteY6" fmla="*/ 167645 h 2566999"/>
              <a:gd name="connsiteX7" fmla="*/ 101667 w 2822963"/>
              <a:gd name="connsiteY7" fmla="*/ 30 h 256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22963" h="2566999">
                <a:moveTo>
                  <a:pt x="101667" y="30"/>
                </a:moveTo>
                <a:cubicBezTo>
                  <a:pt x="138486" y="958"/>
                  <a:pt x="182888" y="23526"/>
                  <a:pt x="230717" y="69478"/>
                </a:cubicBezTo>
                <a:lnTo>
                  <a:pt x="2822963" y="2566999"/>
                </a:lnTo>
                <a:lnTo>
                  <a:pt x="570843" y="2566999"/>
                </a:lnTo>
                <a:lnTo>
                  <a:pt x="230933" y="2240391"/>
                </a:lnTo>
                <a:cubicBezTo>
                  <a:pt x="103389" y="2117848"/>
                  <a:pt x="0" y="1875164"/>
                  <a:pt x="0" y="1698206"/>
                </a:cubicBezTo>
                <a:lnTo>
                  <a:pt x="0" y="167645"/>
                </a:lnTo>
                <a:cubicBezTo>
                  <a:pt x="0" y="57045"/>
                  <a:pt x="40302" y="-1518"/>
                  <a:pt x="101667" y="30"/>
                </a:cubicBezTo>
                <a:close/>
              </a:path>
            </a:pathLst>
          </a:custGeom>
          <a:solidFill>
            <a:srgbClr val="97BE0D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97BE0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47901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41D2A663-B8CD-4B9D-546F-D365D2134A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48427" y="0"/>
            <a:ext cx="5743573" cy="6858000"/>
          </a:xfrm>
          <a:custGeom>
            <a:avLst/>
            <a:gdLst>
              <a:gd name="connsiteX0" fmla="*/ 3165530 w 5743573"/>
              <a:gd name="connsiteY0" fmla="*/ 0 h 6858000"/>
              <a:gd name="connsiteX1" fmla="*/ 5743573 w 5743573"/>
              <a:gd name="connsiteY1" fmla="*/ 0 h 6858000"/>
              <a:gd name="connsiteX2" fmla="*/ 5743573 w 5743573"/>
              <a:gd name="connsiteY2" fmla="*/ 4429751 h 6858000"/>
              <a:gd name="connsiteX3" fmla="*/ 3223227 w 5743573"/>
              <a:gd name="connsiteY3" fmla="*/ 6858000 h 6858000"/>
              <a:gd name="connsiteX4" fmla="*/ 0 w 5743573"/>
              <a:gd name="connsiteY4" fmla="*/ 6858000 h 6858000"/>
              <a:gd name="connsiteX5" fmla="*/ 0 w 5743573"/>
              <a:gd name="connsiteY5" fmla="*/ 4062689 h 6858000"/>
              <a:gd name="connsiteX6" fmla="*/ 736180 w 5743573"/>
              <a:gd name="connsiteY6" fmla="*/ 23342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43573" h="6858000">
                <a:moveTo>
                  <a:pt x="3165530" y="0"/>
                </a:moveTo>
                <a:lnTo>
                  <a:pt x="5743573" y="0"/>
                </a:lnTo>
                <a:lnTo>
                  <a:pt x="5743573" y="4429751"/>
                </a:lnTo>
                <a:lnTo>
                  <a:pt x="3223227" y="6858000"/>
                </a:lnTo>
                <a:lnTo>
                  <a:pt x="0" y="6858000"/>
                </a:lnTo>
                <a:lnTo>
                  <a:pt x="0" y="4062689"/>
                </a:lnTo>
                <a:cubicBezTo>
                  <a:pt x="0" y="3498571"/>
                  <a:pt x="329588" y="2724931"/>
                  <a:pt x="736180" y="2334283"/>
                </a:cubicBezTo>
                <a:close/>
              </a:path>
            </a:pathLst>
          </a:custGeom>
          <a:solidFill>
            <a:srgbClr val="DC006B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DC006B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AE7C4F3D-2874-1BB6-EA25-268A627F87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80135" y="3806402"/>
            <a:ext cx="3359734" cy="3051598"/>
          </a:xfrm>
          <a:custGeom>
            <a:avLst/>
            <a:gdLst>
              <a:gd name="connsiteX0" fmla="*/ 3236405 w 3359734"/>
              <a:gd name="connsiteY0" fmla="*/ 37 h 3051598"/>
              <a:gd name="connsiteX1" fmla="*/ 3359734 w 3359734"/>
              <a:gd name="connsiteY1" fmla="*/ 203367 h 3051598"/>
              <a:gd name="connsiteX2" fmla="*/ 3359734 w 3359734"/>
              <a:gd name="connsiteY2" fmla="*/ 2060053 h 3051598"/>
              <a:gd name="connsiteX3" fmla="*/ 3079596 w 3359734"/>
              <a:gd name="connsiteY3" fmla="*/ 2717765 h 3051598"/>
              <a:gd name="connsiteX4" fmla="*/ 2732167 w 3359734"/>
              <a:gd name="connsiteY4" fmla="*/ 3051598 h 3051598"/>
              <a:gd name="connsiteX5" fmla="*/ 0 w 3359734"/>
              <a:gd name="connsiteY5" fmla="*/ 3051598 h 3051598"/>
              <a:gd name="connsiteX6" fmla="*/ 3079858 w 3359734"/>
              <a:gd name="connsiteY6" fmla="*/ 84283 h 3051598"/>
              <a:gd name="connsiteX7" fmla="*/ 3236405 w 3359734"/>
              <a:gd name="connsiteY7" fmla="*/ 37 h 305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59734" h="3051598">
                <a:moveTo>
                  <a:pt x="3236405" y="37"/>
                </a:moveTo>
                <a:cubicBezTo>
                  <a:pt x="3310845" y="-1841"/>
                  <a:pt x="3359734" y="69201"/>
                  <a:pt x="3359734" y="203367"/>
                </a:cubicBezTo>
                <a:lnTo>
                  <a:pt x="3359734" y="2060053"/>
                </a:lnTo>
                <a:cubicBezTo>
                  <a:pt x="3359734" y="2274717"/>
                  <a:pt x="3234316" y="2569111"/>
                  <a:pt x="3079596" y="2717765"/>
                </a:cubicBezTo>
                <a:lnTo>
                  <a:pt x="2732167" y="3051598"/>
                </a:lnTo>
                <a:lnTo>
                  <a:pt x="0" y="3051598"/>
                </a:lnTo>
                <a:lnTo>
                  <a:pt x="3079858" y="84283"/>
                </a:lnTo>
                <a:cubicBezTo>
                  <a:pt x="3137878" y="28540"/>
                  <a:pt x="3191741" y="1163"/>
                  <a:pt x="3236405" y="37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50" name="Text Placeholder 149">
            <a:extLst>
              <a:ext uri="{FF2B5EF4-FFF2-40B4-BE49-F238E27FC236}">
                <a16:creationId xmlns:a16="http://schemas.microsoft.com/office/drawing/2014/main" id="{D7538C79-ED97-E435-0FE8-C0DB8652DF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60002" y="4005064"/>
            <a:ext cx="3531998" cy="2852936"/>
          </a:xfrm>
          <a:custGeom>
            <a:avLst/>
            <a:gdLst>
              <a:gd name="connsiteX0" fmla="*/ 2961142 w 3531998"/>
              <a:gd name="connsiteY0" fmla="*/ 0 h 2852936"/>
              <a:gd name="connsiteX1" fmla="*/ 3531998 w 3531998"/>
              <a:gd name="connsiteY1" fmla="*/ 0 h 2852936"/>
              <a:gd name="connsiteX2" fmla="*/ 3531998 w 3531998"/>
              <a:gd name="connsiteY2" fmla="*/ 2239358 h 2852936"/>
              <a:gd name="connsiteX3" fmla="*/ 3531188 w 3531998"/>
              <a:gd name="connsiteY3" fmla="*/ 2241499 h 2852936"/>
              <a:gd name="connsiteX4" fmla="*/ 3311816 w 3531998"/>
              <a:gd name="connsiteY4" fmla="*/ 2578272 h 2852936"/>
              <a:gd name="connsiteX5" fmla="*/ 3025965 w 3531998"/>
              <a:gd name="connsiteY5" fmla="*/ 2852936 h 2852936"/>
              <a:gd name="connsiteX6" fmla="*/ 0 w 3531998"/>
              <a:gd name="connsiteY6" fmla="*/ 2852936 h 2852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31998" h="2852936">
                <a:moveTo>
                  <a:pt x="2961142" y="0"/>
                </a:moveTo>
                <a:lnTo>
                  <a:pt x="3531998" y="0"/>
                </a:lnTo>
                <a:lnTo>
                  <a:pt x="3531998" y="2239358"/>
                </a:lnTo>
                <a:lnTo>
                  <a:pt x="3531188" y="2241499"/>
                </a:lnTo>
                <a:cubicBezTo>
                  <a:pt x="3475046" y="2373298"/>
                  <a:pt x="3397487" y="2495960"/>
                  <a:pt x="3311816" y="2578272"/>
                </a:cubicBezTo>
                <a:lnTo>
                  <a:pt x="3025965" y="2852936"/>
                </a:lnTo>
                <a:lnTo>
                  <a:pt x="0" y="2852936"/>
                </a:lnTo>
                <a:close/>
              </a:path>
            </a:pathLst>
          </a:custGeom>
          <a:solidFill>
            <a:srgbClr val="005191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005191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68933960-D0E9-BA3A-2718-21D31502D72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766470" y="1269106"/>
            <a:ext cx="2425530" cy="3969769"/>
          </a:xfrm>
          <a:custGeom>
            <a:avLst/>
            <a:gdLst>
              <a:gd name="connsiteX0" fmla="*/ 82560 w 2425530"/>
              <a:gd name="connsiteY0" fmla="*/ 25 h 3969769"/>
              <a:gd name="connsiteX1" fmla="*/ 187358 w 2425530"/>
              <a:gd name="connsiteY1" fmla="*/ 56422 h 3969769"/>
              <a:gd name="connsiteX2" fmla="*/ 2425530 w 2425530"/>
              <a:gd name="connsiteY2" fmla="*/ 2212808 h 3969769"/>
              <a:gd name="connsiteX3" fmla="*/ 2425530 w 2425530"/>
              <a:gd name="connsiteY3" fmla="*/ 3969769 h 3969769"/>
              <a:gd name="connsiteX4" fmla="*/ 187533 w 2425530"/>
              <a:gd name="connsiteY4" fmla="*/ 1819352 h 3969769"/>
              <a:gd name="connsiteX5" fmla="*/ 0 w 2425530"/>
              <a:gd name="connsiteY5" fmla="*/ 1379060 h 3969769"/>
              <a:gd name="connsiteX6" fmla="*/ 0 w 2425530"/>
              <a:gd name="connsiteY6" fmla="*/ 136140 h 3969769"/>
              <a:gd name="connsiteX7" fmla="*/ 82560 w 2425530"/>
              <a:gd name="connsiteY7" fmla="*/ 25 h 3969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25530" h="3969769">
                <a:moveTo>
                  <a:pt x="82560" y="25"/>
                </a:moveTo>
                <a:cubicBezTo>
                  <a:pt x="112460" y="779"/>
                  <a:pt x="148517" y="19106"/>
                  <a:pt x="187358" y="56422"/>
                </a:cubicBezTo>
                <a:lnTo>
                  <a:pt x="2425530" y="2212808"/>
                </a:lnTo>
                <a:lnTo>
                  <a:pt x="2425530" y="3969769"/>
                </a:lnTo>
                <a:lnTo>
                  <a:pt x="187533" y="1819352"/>
                </a:lnTo>
                <a:cubicBezTo>
                  <a:pt x="83959" y="1719838"/>
                  <a:pt x="0" y="1522763"/>
                  <a:pt x="0" y="1379060"/>
                </a:cubicBezTo>
                <a:lnTo>
                  <a:pt x="0" y="136140"/>
                </a:lnTo>
                <a:cubicBezTo>
                  <a:pt x="0" y="46326"/>
                  <a:pt x="32728" y="-1232"/>
                  <a:pt x="82560" y="2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B97B3D90-8508-16DD-F3A6-858BCE6CC25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846794" y="731163"/>
            <a:ext cx="1345206" cy="2758018"/>
          </a:xfrm>
          <a:custGeom>
            <a:avLst/>
            <a:gdLst>
              <a:gd name="connsiteX0" fmla="*/ 49027 w 1345206"/>
              <a:gd name="connsiteY0" fmla="*/ 4538 h 2758018"/>
              <a:gd name="connsiteX1" fmla="*/ 167504 w 1345206"/>
              <a:gd name="connsiteY1" fmla="*/ 50442 h 2758018"/>
              <a:gd name="connsiteX2" fmla="*/ 1345206 w 1345206"/>
              <a:gd name="connsiteY2" fmla="*/ 1185109 h 2758018"/>
              <a:gd name="connsiteX3" fmla="*/ 1345206 w 1345206"/>
              <a:gd name="connsiteY3" fmla="*/ 2758018 h 2758018"/>
              <a:gd name="connsiteX4" fmla="*/ 167661 w 1345206"/>
              <a:gd name="connsiteY4" fmla="*/ 1626553 h 2758018"/>
              <a:gd name="connsiteX5" fmla="*/ 0 w 1345206"/>
              <a:gd name="connsiteY5" fmla="*/ 1232920 h 2758018"/>
              <a:gd name="connsiteX6" fmla="*/ 0 w 1345206"/>
              <a:gd name="connsiteY6" fmla="*/ 121712 h 2758018"/>
              <a:gd name="connsiteX7" fmla="*/ 49027 w 1345206"/>
              <a:gd name="connsiteY7" fmla="*/ 4538 h 2758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45206" h="2758018">
                <a:moveTo>
                  <a:pt x="49027" y="4538"/>
                </a:moveTo>
                <a:cubicBezTo>
                  <a:pt x="79329" y="-8341"/>
                  <a:pt x="121205" y="5960"/>
                  <a:pt x="167504" y="50442"/>
                </a:cubicBezTo>
                <a:lnTo>
                  <a:pt x="1345206" y="1185109"/>
                </a:lnTo>
                <a:lnTo>
                  <a:pt x="1345206" y="2758018"/>
                </a:lnTo>
                <a:lnTo>
                  <a:pt x="167661" y="1626553"/>
                </a:lnTo>
                <a:cubicBezTo>
                  <a:pt x="75062" y="1537586"/>
                  <a:pt x="0" y="1361394"/>
                  <a:pt x="0" y="1232920"/>
                </a:cubicBezTo>
                <a:lnTo>
                  <a:pt x="0" y="121712"/>
                </a:lnTo>
                <a:cubicBezTo>
                  <a:pt x="0" y="57475"/>
                  <a:pt x="18726" y="17417"/>
                  <a:pt x="49027" y="4538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51" name="Content Placeholder 2">
            <a:extLst>
              <a:ext uri="{FF2B5EF4-FFF2-40B4-BE49-F238E27FC236}">
                <a16:creationId xmlns:a16="http://schemas.microsoft.com/office/drawing/2014/main" id="{4BCD8A3B-1B66-A7C2-3F99-836A5351B0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628801"/>
            <a:ext cx="6696249" cy="4608487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2" name="Title 11">
            <a:extLst>
              <a:ext uri="{FF2B5EF4-FFF2-40B4-BE49-F238E27FC236}">
                <a16:creationId xmlns:a16="http://schemas.microsoft.com/office/drawing/2014/main" id="{4A069A78-03A3-241A-C6F5-23375408E8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6707679" cy="10801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63340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1">
    <p:bg>
      <p:bgPr>
        <a:solidFill>
          <a:srgbClr val="00519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chemeClr val="tx2">
              <a:alpha val="20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7" name="Title 11">
            <a:extLst>
              <a:ext uri="{FF2B5EF4-FFF2-40B4-BE49-F238E27FC236}">
                <a16:creationId xmlns:a16="http://schemas.microsoft.com/office/drawing/2014/main" id="{B5447781-1A60-817C-CFAD-D761E4374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537702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2">
    <p:bg>
      <p:bgPr>
        <a:solidFill>
          <a:srgbClr val="750D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rgbClr val="DC006B">
              <a:alpha val="18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7" name="Title 11">
            <a:extLst>
              <a:ext uri="{FF2B5EF4-FFF2-40B4-BE49-F238E27FC236}">
                <a16:creationId xmlns:a16="http://schemas.microsoft.com/office/drawing/2014/main" id="{49962258-50C2-AAFE-1D2D-C8E38A0BE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73294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rgbClr val="009BA4">
              <a:alpha val="4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7" name="Title 11">
            <a:extLst>
              <a:ext uri="{FF2B5EF4-FFF2-40B4-BE49-F238E27FC236}">
                <a16:creationId xmlns:a16="http://schemas.microsoft.com/office/drawing/2014/main" id="{8D165B35-791B-F74A-B5BD-15E5DF79C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611864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4">
    <p:bg>
      <p:bgPr>
        <a:solidFill>
          <a:srgbClr val="00A070">
            <a:alpha val="3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5" name="Title 11">
            <a:extLst>
              <a:ext uri="{FF2B5EF4-FFF2-40B4-BE49-F238E27FC236}">
                <a16:creationId xmlns:a16="http://schemas.microsoft.com/office/drawing/2014/main" id="{E47DAE63-DEA0-E46F-C169-4404F2E29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2663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solidFill>
          <a:srgbClr val="750D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FCA15A6-5D9D-7EB0-7EAB-66136DC09318}"/>
              </a:ext>
            </a:extLst>
          </p:cNvPr>
          <p:cNvSpPr/>
          <p:nvPr userDrawn="1"/>
        </p:nvSpPr>
        <p:spPr>
          <a:xfrm>
            <a:off x="4670361" y="334156"/>
            <a:ext cx="6168665" cy="6506999"/>
          </a:xfrm>
          <a:custGeom>
            <a:avLst/>
            <a:gdLst>
              <a:gd name="connsiteX0" fmla="*/ 5982236 w 6168665"/>
              <a:gd name="connsiteY0" fmla="*/ 55 h 6506999"/>
              <a:gd name="connsiteX1" fmla="*/ 6168665 w 6168665"/>
              <a:gd name="connsiteY1" fmla="*/ 307414 h 6506999"/>
              <a:gd name="connsiteX2" fmla="*/ 6168665 w 6168665"/>
              <a:gd name="connsiteY2" fmla="*/ 3114034 h 6506999"/>
              <a:gd name="connsiteX3" fmla="*/ 5745199 w 6168665"/>
              <a:gd name="connsiteY3" fmla="*/ 4108249 h 6506999"/>
              <a:gd name="connsiteX4" fmla="*/ 3248756 w 6168665"/>
              <a:gd name="connsiteY4" fmla="*/ 6506999 h 6506999"/>
              <a:gd name="connsiteX5" fmla="*/ 0 w 6168665"/>
              <a:gd name="connsiteY5" fmla="*/ 6506999 h 6506999"/>
              <a:gd name="connsiteX6" fmla="*/ 1037 w 6168665"/>
              <a:gd name="connsiteY6" fmla="*/ 6246740 h 6506999"/>
              <a:gd name="connsiteX7" fmla="*/ 426494 w 6168665"/>
              <a:gd name="connsiteY7" fmla="*/ 5252136 h 6506999"/>
              <a:gd name="connsiteX8" fmla="*/ 5745595 w 6168665"/>
              <a:gd name="connsiteY8" fmla="*/ 127404 h 6506999"/>
              <a:gd name="connsiteX9" fmla="*/ 5982236 w 6168665"/>
              <a:gd name="connsiteY9" fmla="*/ 55 h 650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8665" h="6506999">
                <a:moveTo>
                  <a:pt x="5982236" y="55"/>
                </a:moveTo>
                <a:cubicBezTo>
                  <a:pt x="6094763" y="-2782"/>
                  <a:pt x="6168665" y="104606"/>
                  <a:pt x="6168665" y="307414"/>
                </a:cubicBezTo>
                <a:lnTo>
                  <a:pt x="6168665" y="3114034"/>
                </a:lnTo>
                <a:cubicBezTo>
                  <a:pt x="6168665" y="3438526"/>
                  <a:pt x="5979079" y="3883540"/>
                  <a:pt x="5745199" y="4108249"/>
                </a:cubicBezTo>
                <a:lnTo>
                  <a:pt x="3248756" y="6506999"/>
                </a:lnTo>
                <a:lnTo>
                  <a:pt x="0" y="6506999"/>
                </a:lnTo>
                <a:lnTo>
                  <a:pt x="1037" y="6246740"/>
                </a:lnTo>
                <a:cubicBezTo>
                  <a:pt x="1037" y="5922256"/>
                  <a:pt x="193010" y="5477233"/>
                  <a:pt x="426494" y="5252136"/>
                </a:cubicBezTo>
                <a:lnTo>
                  <a:pt x="5745595" y="127404"/>
                </a:lnTo>
                <a:cubicBezTo>
                  <a:pt x="5833300" y="43141"/>
                  <a:pt x="5914720" y="1758"/>
                  <a:pt x="5982236" y="55"/>
                </a:cubicBezTo>
                <a:close/>
              </a:path>
            </a:pathLst>
          </a:custGeom>
          <a:solidFill>
            <a:srgbClr val="00A070">
              <a:alpha val="76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E0AC103-BF79-BBD4-4F66-81534E3E49E0}"/>
              </a:ext>
            </a:extLst>
          </p:cNvPr>
          <p:cNvSpPr/>
          <p:nvPr userDrawn="1"/>
        </p:nvSpPr>
        <p:spPr>
          <a:xfrm>
            <a:off x="7104112" y="855869"/>
            <a:ext cx="2174700" cy="3294723"/>
          </a:xfrm>
          <a:custGeom>
            <a:avLst/>
            <a:gdLst>
              <a:gd name="connsiteX0" fmla="*/ 1805 w 716872"/>
              <a:gd name="connsiteY0" fmla="*/ 724844 h 1086078"/>
              <a:gd name="connsiteX1" fmla="*/ 51167 w 716872"/>
              <a:gd name="connsiteY1" fmla="*/ 609449 h 1086078"/>
              <a:gd name="connsiteX2" fmla="*/ 668295 w 716872"/>
              <a:gd name="connsiteY2" fmla="*/ 14872 h 1086078"/>
              <a:gd name="connsiteX3" fmla="*/ 717380 w 716872"/>
              <a:gd name="connsiteY3" fmla="*/ 35757 h 1086078"/>
              <a:gd name="connsiteX4" fmla="*/ 717380 w 716872"/>
              <a:gd name="connsiteY4" fmla="*/ 361384 h 1086078"/>
              <a:gd name="connsiteX5" fmla="*/ 668249 w 716872"/>
              <a:gd name="connsiteY5" fmla="*/ 476734 h 1086078"/>
              <a:gd name="connsiteX6" fmla="*/ 49361 w 716872"/>
              <a:gd name="connsiteY6" fmla="*/ 1071403 h 1086078"/>
              <a:gd name="connsiteX7" fmla="*/ 508 w 716872"/>
              <a:gd name="connsiteY7" fmla="*/ 1050472 h 1086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6872" h="1086078">
                <a:moveTo>
                  <a:pt x="1805" y="724844"/>
                </a:moveTo>
                <a:cubicBezTo>
                  <a:pt x="1805" y="687197"/>
                  <a:pt x="24078" y="635565"/>
                  <a:pt x="51167" y="609449"/>
                </a:cubicBezTo>
                <a:lnTo>
                  <a:pt x="668295" y="14872"/>
                </a:lnTo>
                <a:cubicBezTo>
                  <a:pt x="695430" y="-11198"/>
                  <a:pt x="717380" y="-1891"/>
                  <a:pt x="717380" y="35757"/>
                </a:cubicBezTo>
                <a:lnTo>
                  <a:pt x="717380" y="361384"/>
                </a:lnTo>
                <a:cubicBezTo>
                  <a:pt x="717380" y="399032"/>
                  <a:pt x="695384" y="450663"/>
                  <a:pt x="668249" y="476734"/>
                </a:cubicBezTo>
                <a:lnTo>
                  <a:pt x="49361" y="1071403"/>
                </a:lnTo>
                <a:cubicBezTo>
                  <a:pt x="22226" y="1097473"/>
                  <a:pt x="369" y="1088119"/>
                  <a:pt x="508" y="1050472"/>
                </a:cubicBezTo>
                <a:close/>
              </a:path>
            </a:pathLst>
          </a:custGeom>
          <a:solidFill>
            <a:srgbClr val="E9473D">
              <a:alpha val="45000"/>
            </a:srgbClr>
          </a:solidFill>
          <a:ln w="463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8753DF1-4BC3-4EAD-9B6F-2E71E9BC65E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-13402"/>
            <a:ext cx="9048328" cy="6871402"/>
          </a:xfrm>
          <a:custGeom>
            <a:avLst/>
            <a:gdLst>
              <a:gd name="connsiteX0" fmla="*/ 1078275 w 8986314"/>
              <a:gd name="connsiteY0" fmla="*/ 0 h 6824308"/>
              <a:gd name="connsiteX1" fmla="*/ 8986314 w 8986314"/>
              <a:gd name="connsiteY1" fmla="*/ 0 h 6824308"/>
              <a:gd name="connsiteX2" fmla="*/ 8885776 w 8986314"/>
              <a:gd name="connsiteY2" fmla="*/ 211633 h 6824308"/>
              <a:gd name="connsiteX3" fmla="*/ 8413938 w 8986314"/>
              <a:gd name="connsiteY3" fmla="*/ 864817 h 6824308"/>
              <a:gd name="connsiteX4" fmla="*/ 2211738 w 8986314"/>
              <a:gd name="connsiteY4" fmla="*/ 6824308 h 6824308"/>
              <a:gd name="connsiteX5" fmla="*/ 0 w 8986314"/>
              <a:gd name="connsiteY5" fmla="*/ 6824308 h 6824308"/>
              <a:gd name="connsiteX6" fmla="*/ 0 w 8986314"/>
              <a:gd name="connsiteY6" fmla="*/ 1038873 h 6824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86314" h="6824308">
                <a:moveTo>
                  <a:pt x="1078275" y="0"/>
                </a:moveTo>
                <a:lnTo>
                  <a:pt x="8986314" y="0"/>
                </a:lnTo>
                <a:lnTo>
                  <a:pt x="8885776" y="211633"/>
                </a:lnTo>
                <a:cubicBezTo>
                  <a:pt x="8751089" y="467221"/>
                  <a:pt x="8588720" y="696889"/>
                  <a:pt x="8413938" y="864817"/>
                </a:cubicBezTo>
                <a:lnTo>
                  <a:pt x="2211738" y="6824308"/>
                </a:lnTo>
                <a:lnTo>
                  <a:pt x="0" y="6824308"/>
                </a:lnTo>
                <a:lnTo>
                  <a:pt x="0" y="103887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5A6D1114-3527-E0DC-8823-3465CE4FEE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90" y="2636913"/>
            <a:ext cx="10944222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nter title here</a:t>
            </a:r>
            <a:endParaRPr lang="en-GB"/>
          </a:p>
        </p:txBody>
      </p:sp>
      <p:sp>
        <p:nvSpPr>
          <p:cNvPr id="121" name="Text Placeholder 120">
            <a:extLst>
              <a:ext uri="{FF2B5EF4-FFF2-40B4-BE49-F238E27FC236}">
                <a16:creationId xmlns:a16="http://schemas.microsoft.com/office/drawing/2014/main" id="{CC9B63C1-5D83-8FAB-57CF-FDDC4C7A47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9672" y="1197179"/>
            <a:ext cx="3374582" cy="5112571"/>
          </a:xfrm>
          <a:custGeom>
            <a:avLst/>
            <a:gdLst>
              <a:gd name="connsiteX0" fmla="*/ 101819 w 3374582"/>
              <a:gd name="connsiteY0" fmla="*/ 30 h 5112571"/>
              <a:gd name="connsiteX1" fmla="*/ 231061 w 3374582"/>
              <a:gd name="connsiteY1" fmla="*/ 69582 h 5112571"/>
              <a:gd name="connsiteX2" fmla="*/ 3136108 w 3374582"/>
              <a:gd name="connsiteY2" fmla="*/ 2868474 h 5112571"/>
              <a:gd name="connsiteX3" fmla="*/ 3368473 w 3374582"/>
              <a:gd name="connsiteY3" fmla="*/ 3411681 h 5112571"/>
              <a:gd name="connsiteX4" fmla="*/ 3374579 w 3374582"/>
              <a:gd name="connsiteY4" fmla="*/ 4944532 h 5112571"/>
              <a:gd name="connsiteX5" fmla="*/ 3144610 w 3374582"/>
              <a:gd name="connsiteY5" fmla="*/ 5043062 h 5112571"/>
              <a:gd name="connsiteX6" fmla="*/ 231277 w 3374582"/>
              <a:gd name="connsiteY6" fmla="*/ 2243736 h 5112571"/>
              <a:gd name="connsiteX7" fmla="*/ 0 w 3374582"/>
              <a:gd name="connsiteY7" fmla="*/ 1700741 h 5112571"/>
              <a:gd name="connsiteX8" fmla="*/ 0 w 3374582"/>
              <a:gd name="connsiteY8" fmla="*/ 167895 h 5112571"/>
              <a:gd name="connsiteX9" fmla="*/ 101819 w 3374582"/>
              <a:gd name="connsiteY9" fmla="*/ 30 h 511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74582" h="5112571">
                <a:moveTo>
                  <a:pt x="101819" y="30"/>
                </a:moveTo>
                <a:cubicBezTo>
                  <a:pt x="138693" y="960"/>
                  <a:pt x="183161" y="23562"/>
                  <a:pt x="231061" y="69582"/>
                </a:cubicBezTo>
                <a:lnTo>
                  <a:pt x="3136108" y="2868474"/>
                </a:lnTo>
                <a:cubicBezTo>
                  <a:pt x="3263626" y="2991412"/>
                  <a:pt x="3368473" y="3234463"/>
                  <a:pt x="3368473" y="3411681"/>
                </a:cubicBezTo>
                <a:lnTo>
                  <a:pt x="3374579" y="4944532"/>
                </a:lnTo>
                <a:cubicBezTo>
                  <a:pt x="3375233" y="5121750"/>
                  <a:pt x="3272344" y="5165783"/>
                  <a:pt x="3144610" y="5043062"/>
                </a:cubicBezTo>
                <a:lnTo>
                  <a:pt x="231277" y="2243736"/>
                </a:lnTo>
                <a:cubicBezTo>
                  <a:pt x="103543" y="2121010"/>
                  <a:pt x="0" y="1877964"/>
                  <a:pt x="0" y="1700741"/>
                </a:cubicBezTo>
                <a:lnTo>
                  <a:pt x="0" y="167895"/>
                </a:lnTo>
                <a:cubicBezTo>
                  <a:pt x="0" y="57131"/>
                  <a:pt x="40362" y="-1519"/>
                  <a:pt x="101819" y="30"/>
                </a:cubicBezTo>
                <a:close/>
              </a:path>
            </a:pathLst>
          </a:custGeom>
          <a:solidFill>
            <a:schemeClr val="accent4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17204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6" grpId="0" animBg="1"/>
      <p:bldP spid="18" grpId="0" build="p"/>
      <p:bldP spid="121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921A3A-65C0-E745-B799-D4D391BCBEF0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DAA1FB4-12D6-A58E-2395-487DCA979AAD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091DA980-FAFB-40EA-B270-7C2B27280B2F}" type="datetime1">
              <a:rPr lang="fr-FR"/>
              <a:pPr lvl="0"/>
              <a:t>03/04/2024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FBB65B-FB41-4FB9-5E87-7919210DD82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2211E9-7717-09EC-35AF-221660E607B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D6C8E1F0-976D-4CF5-ADA8-912014DE7159}" type="slidenum"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8022473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AA7C710D-8E47-E3A8-2CF9-60EA5688C4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84353" y="0"/>
            <a:ext cx="8307649" cy="6858000"/>
          </a:xfrm>
          <a:custGeom>
            <a:avLst/>
            <a:gdLst>
              <a:gd name="connsiteX0" fmla="*/ 5698023 w 8307649"/>
              <a:gd name="connsiteY0" fmla="*/ 0 h 6858000"/>
              <a:gd name="connsiteX1" fmla="*/ 8307649 w 8307649"/>
              <a:gd name="connsiteY1" fmla="*/ 0 h 6858000"/>
              <a:gd name="connsiteX2" fmla="*/ 8307649 w 8307649"/>
              <a:gd name="connsiteY2" fmla="*/ 3284129 h 6858000"/>
              <a:gd name="connsiteX3" fmla="*/ 4588225 w 8307649"/>
              <a:gd name="connsiteY3" fmla="*/ 6858000 h 6858000"/>
              <a:gd name="connsiteX4" fmla="*/ 0 w 8307649"/>
              <a:gd name="connsiteY4" fmla="*/ 6858000 h 6858000"/>
              <a:gd name="connsiteX5" fmla="*/ 2065 w 8307649"/>
              <a:gd name="connsiteY5" fmla="*/ 6339573 h 6858000"/>
              <a:gd name="connsiteX6" fmla="*/ 621851 w 8307649"/>
              <a:gd name="connsiteY6" fmla="*/ 48906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07649" h="6858000">
                <a:moveTo>
                  <a:pt x="5698023" y="0"/>
                </a:moveTo>
                <a:lnTo>
                  <a:pt x="8307649" y="0"/>
                </a:lnTo>
                <a:lnTo>
                  <a:pt x="8307649" y="3284129"/>
                </a:lnTo>
                <a:lnTo>
                  <a:pt x="4588225" y="6858000"/>
                </a:lnTo>
                <a:lnTo>
                  <a:pt x="0" y="6858000"/>
                </a:lnTo>
                <a:lnTo>
                  <a:pt x="2065" y="6339573"/>
                </a:lnTo>
                <a:cubicBezTo>
                  <a:pt x="2065" y="5866880"/>
                  <a:pt x="281723" y="5218592"/>
                  <a:pt x="621851" y="4890681"/>
                </a:cubicBezTo>
                <a:close/>
              </a:path>
            </a:pathLst>
          </a:custGeom>
          <a:solidFill>
            <a:schemeClr val="accent2">
              <a:alpha val="1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AC155FC-D973-D576-838C-25A1E227425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050553" y="0"/>
            <a:ext cx="2566530" cy="2324996"/>
          </a:xfrm>
          <a:custGeom>
            <a:avLst/>
            <a:gdLst>
              <a:gd name="connsiteX0" fmla="*/ 465501 w 2566530"/>
              <a:gd name="connsiteY0" fmla="*/ 0 h 2324996"/>
              <a:gd name="connsiteX1" fmla="*/ 2566530 w 2566530"/>
              <a:gd name="connsiteY1" fmla="*/ 0 h 2324996"/>
              <a:gd name="connsiteX2" fmla="*/ 214236 w 2566530"/>
              <a:gd name="connsiteY2" fmla="*/ 2260243 h 2324996"/>
              <a:gd name="connsiteX3" fmla="*/ 3 w 2566530"/>
              <a:gd name="connsiteY3" fmla="*/ 2168455 h 2324996"/>
              <a:gd name="connsiteX4" fmla="*/ 5690 w 2566530"/>
              <a:gd name="connsiteY4" fmla="*/ 740490 h 2324996"/>
              <a:gd name="connsiteX5" fmla="*/ 222156 w 2566530"/>
              <a:gd name="connsiteY5" fmla="*/ 234452 h 232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66530" h="2324996">
                <a:moveTo>
                  <a:pt x="465501" y="0"/>
                </a:moveTo>
                <a:lnTo>
                  <a:pt x="2566530" y="0"/>
                </a:lnTo>
                <a:lnTo>
                  <a:pt x="214236" y="2260243"/>
                </a:lnTo>
                <a:cubicBezTo>
                  <a:pt x="95242" y="2374566"/>
                  <a:pt x="-607" y="2333547"/>
                  <a:pt x="3" y="2168455"/>
                </a:cubicBezTo>
                <a:lnTo>
                  <a:pt x="5690" y="740490"/>
                </a:lnTo>
                <a:cubicBezTo>
                  <a:pt x="5690" y="575398"/>
                  <a:pt x="103363" y="348978"/>
                  <a:pt x="222156" y="23445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94AD9BD-C5AB-9506-5096-F88CE0F314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850755" y="1"/>
            <a:ext cx="1341247" cy="2863547"/>
          </a:xfrm>
          <a:custGeom>
            <a:avLst/>
            <a:gdLst>
              <a:gd name="connsiteX0" fmla="*/ 1024478 w 1341247"/>
              <a:gd name="connsiteY0" fmla="*/ 0 h 2863547"/>
              <a:gd name="connsiteX1" fmla="*/ 1341247 w 1341247"/>
              <a:gd name="connsiteY1" fmla="*/ 0 h 2863547"/>
              <a:gd name="connsiteX2" fmla="*/ 1341247 w 1341247"/>
              <a:gd name="connsiteY2" fmla="*/ 1715886 h 2863547"/>
              <a:gd name="connsiteX3" fmla="*/ 214236 w 1341247"/>
              <a:gd name="connsiteY3" fmla="*/ 2798794 h 2863547"/>
              <a:gd name="connsiteX4" fmla="*/ 3 w 1341247"/>
              <a:gd name="connsiteY4" fmla="*/ 2707006 h 2863547"/>
              <a:gd name="connsiteX5" fmla="*/ 5690 w 1341247"/>
              <a:gd name="connsiteY5" fmla="*/ 1279041 h 2863547"/>
              <a:gd name="connsiteX6" fmla="*/ 222156 w 1341247"/>
              <a:gd name="connsiteY6" fmla="*/ 773003 h 2863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41247" h="2863547">
                <a:moveTo>
                  <a:pt x="1024478" y="0"/>
                </a:moveTo>
                <a:lnTo>
                  <a:pt x="1341247" y="0"/>
                </a:lnTo>
                <a:lnTo>
                  <a:pt x="1341247" y="1715886"/>
                </a:lnTo>
                <a:lnTo>
                  <a:pt x="214236" y="2798794"/>
                </a:lnTo>
                <a:cubicBezTo>
                  <a:pt x="95242" y="2913117"/>
                  <a:pt x="-607" y="2872098"/>
                  <a:pt x="3" y="2707006"/>
                </a:cubicBezTo>
                <a:lnTo>
                  <a:pt x="5690" y="1279041"/>
                </a:lnTo>
                <a:cubicBezTo>
                  <a:pt x="5690" y="1113949"/>
                  <a:pt x="103363" y="887529"/>
                  <a:pt x="222156" y="77300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8" name="Content Placeholder 2">
            <a:extLst>
              <a:ext uri="{FF2B5EF4-FFF2-40B4-BE49-F238E27FC236}">
                <a16:creationId xmlns:a16="http://schemas.microsoft.com/office/drawing/2014/main" id="{023B6287-DC51-AA57-6722-056D2C7952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3067997"/>
            <a:ext cx="5314076" cy="3169291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9" name="Title 11">
            <a:extLst>
              <a:ext uri="{FF2B5EF4-FFF2-40B4-BE49-F238E27FC236}">
                <a16:creationId xmlns:a16="http://schemas.microsoft.com/office/drawing/2014/main" id="{34352D96-DF15-8E5E-F95D-12F952799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1628800"/>
            <a:ext cx="6707679" cy="10801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1" name="Content Placeholder 2">
            <a:extLst>
              <a:ext uri="{FF2B5EF4-FFF2-40B4-BE49-F238E27FC236}">
                <a16:creationId xmlns:a16="http://schemas.microsoft.com/office/drawing/2014/main" id="{86A71CC3-65D1-A737-0BD6-AF9E0DD9F53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54038" y="3067997"/>
            <a:ext cx="5314076" cy="3169291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4" name="Text Placeholder 143">
            <a:extLst>
              <a:ext uri="{FF2B5EF4-FFF2-40B4-BE49-F238E27FC236}">
                <a16:creationId xmlns:a16="http://schemas.microsoft.com/office/drawing/2014/main" id="{510F25E8-1438-42EB-CE08-E53079A70A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60934" y="1340101"/>
            <a:ext cx="4431067" cy="5517900"/>
          </a:xfrm>
          <a:custGeom>
            <a:avLst/>
            <a:gdLst>
              <a:gd name="connsiteX0" fmla="*/ 157026 w 4431067"/>
              <a:gd name="connsiteY0" fmla="*/ 43 h 5517900"/>
              <a:gd name="connsiteX1" fmla="*/ 357885 w 4431067"/>
              <a:gd name="connsiteY1" fmla="*/ 108172 h 5517900"/>
              <a:gd name="connsiteX2" fmla="*/ 4431067 w 4431067"/>
              <a:gd name="connsiteY2" fmla="*/ 4021958 h 5517900"/>
              <a:gd name="connsiteX3" fmla="*/ 4431067 w 4431067"/>
              <a:gd name="connsiteY3" fmla="*/ 5517900 h 5517900"/>
              <a:gd name="connsiteX4" fmla="*/ 2473557 w 4431067"/>
              <a:gd name="connsiteY4" fmla="*/ 5517900 h 5517900"/>
              <a:gd name="connsiteX5" fmla="*/ 371115 w 4431067"/>
              <a:gd name="connsiteY5" fmla="*/ 3492284 h 5517900"/>
              <a:gd name="connsiteX6" fmla="*/ 9506 w 4431067"/>
              <a:gd name="connsiteY6" fmla="*/ 2646941 h 5517900"/>
              <a:gd name="connsiteX7" fmla="*/ 5 w 4431067"/>
              <a:gd name="connsiteY7" fmla="*/ 261505 h 5517900"/>
              <a:gd name="connsiteX8" fmla="*/ 157026 w 4431067"/>
              <a:gd name="connsiteY8" fmla="*/ 43 h 551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31067" h="5517900">
                <a:moveTo>
                  <a:pt x="157026" y="43"/>
                </a:moveTo>
                <a:cubicBezTo>
                  <a:pt x="214236" y="1430"/>
                  <a:pt x="283342" y="36555"/>
                  <a:pt x="357885" y="108172"/>
                </a:cubicBezTo>
                <a:lnTo>
                  <a:pt x="4431067" y="4021958"/>
                </a:lnTo>
                <a:lnTo>
                  <a:pt x="4431067" y="5517900"/>
                </a:lnTo>
                <a:lnTo>
                  <a:pt x="2473557" y="5517900"/>
                </a:lnTo>
                <a:lnTo>
                  <a:pt x="371115" y="3492284"/>
                </a:lnTo>
                <a:cubicBezTo>
                  <a:pt x="172670" y="3300968"/>
                  <a:pt x="9506" y="2922730"/>
                  <a:pt x="9506" y="2646941"/>
                </a:cubicBezTo>
                <a:lnTo>
                  <a:pt x="5" y="261505"/>
                </a:lnTo>
                <a:cubicBezTo>
                  <a:pt x="-632" y="89137"/>
                  <a:pt x="61675" y="-2268"/>
                  <a:pt x="157026" y="43"/>
                </a:cubicBezTo>
                <a:close/>
              </a:path>
            </a:pathLst>
          </a:custGeom>
          <a:solidFill>
            <a:srgbClr val="750D68">
              <a:alpha val="1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750D68">
                    <a:alpha val="0"/>
                  </a:srgb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01111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DD6310-32C9-D02A-F75A-8202E2F8AA1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87286" y="0"/>
            <a:ext cx="8704714" cy="6858000"/>
          </a:xfrm>
          <a:custGeom>
            <a:avLst/>
            <a:gdLst>
              <a:gd name="connsiteX0" fmla="*/ 2756259 w 8704714"/>
              <a:gd name="connsiteY0" fmla="*/ 0 h 6841154"/>
              <a:gd name="connsiteX1" fmla="*/ 8704714 w 8704714"/>
              <a:gd name="connsiteY1" fmla="*/ 0 h 6841154"/>
              <a:gd name="connsiteX2" fmla="*/ 8704714 w 8704714"/>
              <a:gd name="connsiteY2" fmla="*/ 2314108 h 6841154"/>
              <a:gd name="connsiteX3" fmla="*/ 3993297 w 8704714"/>
              <a:gd name="connsiteY3" fmla="*/ 6841154 h 6841154"/>
              <a:gd name="connsiteX4" fmla="*/ 0 w 8704714"/>
              <a:gd name="connsiteY4" fmla="*/ 6841154 h 6841154"/>
              <a:gd name="connsiteX5" fmla="*/ 12006 w 8704714"/>
              <a:gd name="connsiteY5" fmla="*/ 3826853 h 6841154"/>
              <a:gd name="connsiteX6" fmla="*/ 872739 w 8704714"/>
              <a:gd name="connsiteY6" fmla="*/ 1814693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4714" h="6841154">
                <a:moveTo>
                  <a:pt x="2756259" y="0"/>
                </a:moveTo>
                <a:lnTo>
                  <a:pt x="8704714" y="0"/>
                </a:lnTo>
                <a:lnTo>
                  <a:pt x="8704714" y="2314108"/>
                </a:lnTo>
                <a:lnTo>
                  <a:pt x="3993297" y="6841154"/>
                </a:lnTo>
                <a:lnTo>
                  <a:pt x="0" y="6841154"/>
                </a:lnTo>
                <a:lnTo>
                  <a:pt x="12006" y="3826853"/>
                </a:lnTo>
                <a:cubicBezTo>
                  <a:pt x="12006" y="3170397"/>
                  <a:pt x="400384" y="2270082"/>
                  <a:pt x="872739" y="181469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8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2B89C08-3145-4E61-F74B-4EC92B6D5D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99802"/>
            <a:ext cx="4700424" cy="6458199"/>
          </a:xfrm>
          <a:custGeom>
            <a:avLst/>
            <a:gdLst>
              <a:gd name="connsiteX0" fmla="*/ 4516707 w 4700424"/>
              <a:gd name="connsiteY0" fmla="*/ 55 h 6458199"/>
              <a:gd name="connsiteX1" fmla="*/ 4700424 w 4700424"/>
              <a:gd name="connsiteY1" fmla="*/ 302944 h 6458199"/>
              <a:gd name="connsiteX2" fmla="*/ 4700424 w 4700424"/>
              <a:gd name="connsiteY2" fmla="*/ 3068743 h 6458199"/>
              <a:gd name="connsiteX3" fmla="*/ 4283117 w 4700424"/>
              <a:gd name="connsiteY3" fmla="*/ 4048499 h 6458199"/>
              <a:gd name="connsiteX4" fmla="*/ 1775277 w 4700424"/>
              <a:gd name="connsiteY4" fmla="*/ 6458199 h 6458199"/>
              <a:gd name="connsiteX5" fmla="*/ 0 w 4700424"/>
              <a:gd name="connsiteY5" fmla="*/ 6458199 h 6458199"/>
              <a:gd name="connsiteX6" fmla="*/ 0 w 4700424"/>
              <a:gd name="connsiteY6" fmla="*/ 4252532 h 6458199"/>
              <a:gd name="connsiteX7" fmla="*/ 4283508 w 4700424"/>
              <a:gd name="connsiteY7" fmla="*/ 125551 h 6458199"/>
              <a:gd name="connsiteX8" fmla="*/ 4516707 w 4700424"/>
              <a:gd name="connsiteY8" fmla="*/ 55 h 6458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700424" h="6458199">
                <a:moveTo>
                  <a:pt x="4516707" y="55"/>
                </a:moveTo>
                <a:cubicBezTo>
                  <a:pt x="4627597" y="-2741"/>
                  <a:pt x="4700424" y="103085"/>
                  <a:pt x="4700424" y="302944"/>
                </a:cubicBezTo>
                <a:lnTo>
                  <a:pt x="4700424" y="3068743"/>
                </a:lnTo>
                <a:cubicBezTo>
                  <a:pt x="4700424" y="3388516"/>
                  <a:pt x="4513595" y="3827058"/>
                  <a:pt x="4283117" y="4048499"/>
                </a:cubicBezTo>
                <a:lnTo>
                  <a:pt x="1775277" y="6458199"/>
                </a:lnTo>
                <a:lnTo>
                  <a:pt x="0" y="6458199"/>
                </a:lnTo>
                <a:lnTo>
                  <a:pt x="0" y="4252532"/>
                </a:lnTo>
                <a:lnTo>
                  <a:pt x="4283508" y="125551"/>
                </a:lnTo>
                <a:cubicBezTo>
                  <a:pt x="4369937" y="42514"/>
                  <a:pt x="4450173" y="1733"/>
                  <a:pt x="4516707" y="5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8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9" name="Text Placeholder 118">
            <a:extLst>
              <a:ext uri="{FF2B5EF4-FFF2-40B4-BE49-F238E27FC236}">
                <a16:creationId xmlns:a16="http://schemas.microsoft.com/office/drawing/2014/main" id="{3498E6CF-EFC3-5EDD-E98E-8BBCE25C4E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59187" y="1992797"/>
            <a:ext cx="1885144" cy="2856036"/>
          </a:xfrm>
          <a:custGeom>
            <a:avLst/>
            <a:gdLst>
              <a:gd name="connsiteX0" fmla="*/ 1828265 w 1885144"/>
              <a:gd name="connsiteY0" fmla="*/ 17 h 2856036"/>
              <a:gd name="connsiteX1" fmla="*/ 1885144 w 1885144"/>
              <a:gd name="connsiteY1" fmla="*/ 93791 h 2856036"/>
              <a:gd name="connsiteX2" fmla="*/ 1885144 w 1885144"/>
              <a:gd name="connsiteY2" fmla="*/ 950086 h 2856036"/>
              <a:gd name="connsiteX3" fmla="*/ 1755945 w 1885144"/>
              <a:gd name="connsiteY3" fmla="*/ 1253419 h 2856036"/>
              <a:gd name="connsiteX4" fmla="*/ 128470 w 1885144"/>
              <a:gd name="connsiteY4" fmla="*/ 2817207 h 2856036"/>
              <a:gd name="connsiteX5" fmla="*/ 2 w 1885144"/>
              <a:gd name="connsiteY5" fmla="*/ 2762165 h 2856036"/>
              <a:gd name="connsiteX6" fmla="*/ 3413 w 1885144"/>
              <a:gd name="connsiteY6" fmla="*/ 1905868 h 2856036"/>
              <a:gd name="connsiteX7" fmla="*/ 133219 w 1885144"/>
              <a:gd name="connsiteY7" fmla="*/ 1602417 h 2856036"/>
              <a:gd name="connsiteX8" fmla="*/ 1756066 w 1885144"/>
              <a:gd name="connsiteY8" fmla="*/ 38871 h 2856036"/>
              <a:gd name="connsiteX9" fmla="*/ 1828265 w 1885144"/>
              <a:gd name="connsiteY9" fmla="*/ 17 h 2856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85144" h="2856036">
                <a:moveTo>
                  <a:pt x="1828265" y="17"/>
                </a:moveTo>
                <a:cubicBezTo>
                  <a:pt x="1862597" y="-849"/>
                  <a:pt x="1885144" y="31915"/>
                  <a:pt x="1885144" y="93791"/>
                </a:cubicBezTo>
                <a:lnTo>
                  <a:pt x="1885144" y="950086"/>
                </a:lnTo>
                <a:cubicBezTo>
                  <a:pt x="1885144" y="1049088"/>
                  <a:pt x="1827302" y="1184861"/>
                  <a:pt x="1755945" y="1253419"/>
                </a:cubicBezTo>
                <a:lnTo>
                  <a:pt x="128470" y="2817207"/>
                </a:lnTo>
                <a:cubicBezTo>
                  <a:pt x="57113" y="2885762"/>
                  <a:pt x="-364" y="2861164"/>
                  <a:pt x="2" y="2762165"/>
                </a:cubicBezTo>
                <a:lnTo>
                  <a:pt x="3413" y="1905868"/>
                </a:lnTo>
                <a:cubicBezTo>
                  <a:pt x="3413" y="1806869"/>
                  <a:pt x="61983" y="1671093"/>
                  <a:pt x="133219" y="1602417"/>
                </a:cubicBezTo>
                <a:lnTo>
                  <a:pt x="1756066" y="38871"/>
                </a:lnTo>
                <a:cubicBezTo>
                  <a:pt x="1782825" y="13162"/>
                  <a:pt x="1807666" y="536"/>
                  <a:pt x="1828265" y="17"/>
                </a:cubicBezTo>
                <a:close/>
              </a:path>
            </a:pathLst>
          </a:custGeom>
          <a:solidFill>
            <a:srgbClr val="F07E26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  <a:lvl2pPr algn="ctr">
              <a:defRPr>
                <a:solidFill>
                  <a:srgbClr val="F07E26"/>
                </a:solidFill>
              </a:defRPr>
            </a:lvl2pPr>
            <a:lvl3pPr algn="ctr">
              <a:defRPr>
                <a:solidFill>
                  <a:srgbClr val="F07E26"/>
                </a:solidFill>
              </a:defRPr>
            </a:lvl3pPr>
            <a:lvl4pPr algn="ctr">
              <a:defRPr>
                <a:solidFill>
                  <a:srgbClr val="F07E26"/>
                </a:solidFill>
              </a:defRPr>
            </a:lvl4pPr>
            <a:lvl5pPr algn="ctr">
              <a:defRPr>
                <a:solidFill>
                  <a:srgbClr val="F07E26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22" name="Text Placeholder 121">
            <a:extLst>
              <a:ext uri="{FF2B5EF4-FFF2-40B4-BE49-F238E27FC236}">
                <a16:creationId xmlns:a16="http://schemas.microsoft.com/office/drawing/2014/main" id="{1699D606-9738-C9EC-FC65-6F6AD95EE2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04620" y="1269298"/>
            <a:ext cx="4260152" cy="5588702"/>
          </a:xfrm>
          <a:custGeom>
            <a:avLst/>
            <a:gdLst>
              <a:gd name="connsiteX0" fmla="*/ 128617 w 4260152"/>
              <a:gd name="connsiteY0" fmla="*/ 38 h 5588702"/>
              <a:gd name="connsiteX1" fmla="*/ 291876 w 4260152"/>
              <a:gd name="connsiteY1" fmla="*/ 87896 h 5588702"/>
              <a:gd name="connsiteX2" fmla="*/ 3961534 w 4260152"/>
              <a:gd name="connsiteY2" fmla="*/ 3623459 h 5588702"/>
              <a:gd name="connsiteX3" fmla="*/ 4255058 w 4260152"/>
              <a:gd name="connsiteY3" fmla="*/ 4309638 h 5588702"/>
              <a:gd name="connsiteX4" fmla="*/ 4260152 w 4260152"/>
              <a:gd name="connsiteY4" fmla="*/ 5588702 h 5588702"/>
              <a:gd name="connsiteX5" fmla="*/ 3158741 w 4260152"/>
              <a:gd name="connsiteY5" fmla="*/ 5588702 h 5588702"/>
              <a:gd name="connsiteX6" fmla="*/ 292149 w 4260152"/>
              <a:gd name="connsiteY6" fmla="*/ 2834289 h 5588702"/>
              <a:gd name="connsiteX7" fmla="*/ 0 w 4260152"/>
              <a:gd name="connsiteY7" fmla="*/ 2148378 h 5588702"/>
              <a:gd name="connsiteX8" fmla="*/ 0 w 4260152"/>
              <a:gd name="connsiteY8" fmla="*/ 212086 h 5588702"/>
              <a:gd name="connsiteX9" fmla="*/ 128617 w 4260152"/>
              <a:gd name="connsiteY9" fmla="*/ 38 h 5588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60152" h="5588702">
                <a:moveTo>
                  <a:pt x="128617" y="38"/>
                </a:moveTo>
                <a:cubicBezTo>
                  <a:pt x="175196" y="1213"/>
                  <a:pt x="231368" y="29763"/>
                  <a:pt x="291876" y="87896"/>
                </a:cubicBezTo>
                <a:lnTo>
                  <a:pt x="3961534" y="3623459"/>
                </a:lnTo>
                <a:cubicBezTo>
                  <a:pt x="4122615" y="3778754"/>
                  <a:pt x="4255058" y="4085775"/>
                  <a:pt x="4255058" y="4309638"/>
                </a:cubicBezTo>
                <a:lnTo>
                  <a:pt x="4260152" y="5588702"/>
                </a:lnTo>
                <a:lnTo>
                  <a:pt x="3158741" y="5588702"/>
                </a:lnTo>
                <a:lnTo>
                  <a:pt x="292149" y="2834289"/>
                </a:lnTo>
                <a:cubicBezTo>
                  <a:pt x="130795" y="2679262"/>
                  <a:pt x="0" y="2372246"/>
                  <a:pt x="0" y="2148378"/>
                </a:cubicBezTo>
                <a:lnTo>
                  <a:pt x="0" y="212086"/>
                </a:lnTo>
                <a:cubicBezTo>
                  <a:pt x="0" y="72168"/>
                  <a:pt x="50985" y="-1919"/>
                  <a:pt x="128617" y="38"/>
                </a:cubicBezTo>
                <a:close/>
              </a:path>
            </a:pathLst>
          </a:custGeom>
          <a:solidFill>
            <a:srgbClr val="27257A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27257A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7B0E17D5-868C-E89F-DA74-17A32A61D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9" y="2636913"/>
            <a:ext cx="10944224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nter titl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82774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3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2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2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25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4" grpId="0" animBg="1"/>
      <p:bldP spid="119" grpId="0" build="p" animBg="1">
        <p:tmplLst>
          <p:tmpl>
            <p:tnLst>
              <p:par>
                <p:cTn presetID="2" presetClass="entr" presetSubtype="3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3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2" grpId="0" uiExpand="1" build="p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4" decel="100000" fill="hold" nodeType="withEffect" nodePh="1">
                  <p:stCondLst>
                    <p:cond delay="7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" grpId="0" build="p">
        <p:tmplLst>
          <p:tmpl lvl="2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Text Placeholder 141">
            <a:extLst>
              <a:ext uri="{FF2B5EF4-FFF2-40B4-BE49-F238E27FC236}">
                <a16:creationId xmlns:a16="http://schemas.microsoft.com/office/drawing/2014/main" id="{BF2379A6-416F-A243-1DD7-9276A2B5D9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66262" y="0"/>
            <a:ext cx="5725739" cy="6858000"/>
          </a:xfrm>
          <a:custGeom>
            <a:avLst/>
            <a:gdLst>
              <a:gd name="connsiteX0" fmla="*/ 5117570 w 5725739"/>
              <a:gd name="connsiteY0" fmla="*/ 0 h 6858000"/>
              <a:gd name="connsiteX1" fmla="*/ 5725739 w 5725739"/>
              <a:gd name="connsiteY1" fmla="*/ 0 h 6858000"/>
              <a:gd name="connsiteX2" fmla="*/ 5725739 w 5725739"/>
              <a:gd name="connsiteY2" fmla="*/ 3401607 h 6858000"/>
              <a:gd name="connsiteX3" fmla="*/ 2128578 w 5725739"/>
              <a:gd name="connsiteY3" fmla="*/ 6858000 h 6858000"/>
              <a:gd name="connsiteX4" fmla="*/ 0 w 5725739"/>
              <a:gd name="connsiteY4" fmla="*/ 6858000 h 6858000"/>
              <a:gd name="connsiteX5" fmla="*/ 5365 w 5725739"/>
              <a:gd name="connsiteY5" fmla="*/ 5511145 h 6858000"/>
              <a:gd name="connsiteX6" fmla="*/ 431589 w 5725739"/>
              <a:gd name="connsiteY6" fmla="*/ 451474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25739" h="6858000">
                <a:moveTo>
                  <a:pt x="5117570" y="0"/>
                </a:moveTo>
                <a:lnTo>
                  <a:pt x="5725739" y="0"/>
                </a:lnTo>
                <a:lnTo>
                  <a:pt x="5725739" y="3401607"/>
                </a:lnTo>
                <a:lnTo>
                  <a:pt x="2128578" y="6858000"/>
                </a:lnTo>
                <a:lnTo>
                  <a:pt x="0" y="6858000"/>
                </a:lnTo>
                <a:lnTo>
                  <a:pt x="5365" y="5511145"/>
                </a:lnTo>
                <a:cubicBezTo>
                  <a:pt x="5365" y="5186076"/>
                  <a:pt x="197685" y="4740251"/>
                  <a:pt x="431589" y="4514748"/>
                </a:cubicBezTo>
                <a:close/>
              </a:path>
            </a:pathLst>
          </a:custGeom>
          <a:solidFill>
            <a:srgbClr val="38B6AB">
              <a:alpha val="2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 b="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5" name="Text Placeholder 144">
            <a:extLst>
              <a:ext uri="{FF2B5EF4-FFF2-40B4-BE49-F238E27FC236}">
                <a16:creationId xmlns:a16="http://schemas.microsoft.com/office/drawing/2014/main" id="{47136838-D8CD-1DE4-55C8-249715F1441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550874" y="1"/>
            <a:ext cx="3878381" cy="3539155"/>
          </a:xfrm>
          <a:custGeom>
            <a:avLst/>
            <a:gdLst>
              <a:gd name="connsiteX0" fmla="*/ 0 w 3878381"/>
              <a:gd name="connsiteY0" fmla="*/ 0 h 3539155"/>
              <a:gd name="connsiteX1" fmla="*/ 2792543 w 3878381"/>
              <a:gd name="connsiteY1" fmla="*/ 0 h 3539155"/>
              <a:gd name="connsiteX2" fmla="*/ 3583241 w 3878381"/>
              <a:gd name="connsiteY2" fmla="*/ 761805 h 3539155"/>
              <a:gd name="connsiteX3" fmla="*/ 3870822 w 3878381"/>
              <a:gd name="connsiteY3" fmla="*/ 1434091 h 3539155"/>
              <a:gd name="connsiteX4" fmla="*/ 3878378 w 3878381"/>
              <a:gd name="connsiteY4" fmla="*/ 3331185 h 3539155"/>
              <a:gd name="connsiteX5" fmla="*/ 3593763 w 3878381"/>
              <a:gd name="connsiteY5" fmla="*/ 3453128 h 3539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8381" h="3539155">
                <a:moveTo>
                  <a:pt x="0" y="0"/>
                </a:moveTo>
                <a:lnTo>
                  <a:pt x="2792543" y="0"/>
                </a:lnTo>
                <a:lnTo>
                  <a:pt x="3583241" y="761805"/>
                </a:lnTo>
                <a:cubicBezTo>
                  <a:pt x="3741061" y="913955"/>
                  <a:pt x="3870822" y="1214761"/>
                  <a:pt x="3870822" y="1434091"/>
                </a:cubicBezTo>
                <a:lnTo>
                  <a:pt x="3878378" y="3331185"/>
                </a:lnTo>
                <a:cubicBezTo>
                  <a:pt x="3879188" y="3550515"/>
                  <a:pt x="3751850" y="3605011"/>
                  <a:pt x="3593763" y="3453128"/>
                </a:cubicBezTo>
                <a:close/>
              </a:path>
            </a:pathLst>
          </a:custGeom>
          <a:solidFill>
            <a:srgbClr val="750D68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750D68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E52AA2E-72C8-26E5-69FC-B43BCA87D9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397584" y="2"/>
            <a:ext cx="2794416" cy="3055719"/>
          </a:xfrm>
          <a:custGeom>
            <a:avLst/>
            <a:gdLst>
              <a:gd name="connsiteX0" fmla="*/ 1289861 w 2794416"/>
              <a:gd name="connsiteY0" fmla="*/ 0 h 3055719"/>
              <a:gd name="connsiteX1" fmla="*/ 2794416 w 2794416"/>
              <a:gd name="connsiteY1" fmla="*/ 0 h 3055719"/>
              <a:gd name="connsiteX2" fmla="*/ 2794416 w 2794416"/>
              <a:gd name="connsiteY2" fmla="*/ 506981 h 3055719"/>
              <a:gd name="connsiteX3" fmla="*/ 206986 w 2794416"/>
              <a:gd name="connsiteY3" fmla="*/ 2993158 h 3055719"/>
              <a:gd name="connsiteX4" fmla="*/ 3 w 2794416"/>
              <a:gd name="connsiteY4" fmla="*/ 2904476 h 3055719"/>
              <a:gd name="connsiteX5" fmla="*/ 5498 w 2794416"/>
              <a:gd name="connsiteY5" fmla="*/ 1524843 h 3055719"/>
              <a:gd name="connsiteX6" fmla="*/ 214637 w 2794416"/>
              <a:gd name="connsiteY6" fmla="*/ 1035934 h 305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94416" h="3055719">
                <a:moveTo>
                  <a:pt x="1289861" y="0"/>
                </a:moveTo>
                <a:lnTo>
                  <a:pt x="2794416" y="0"/>
                </a:lnTo>
                <a:lnTo>
                  <a:pt x="2794416" y="506981"/>
                </a:lnTo>
                <a:lnTo>
                  <a:pt x="206986" y="2993158"/>
                </a:lnTo>
                <a:cubicBezTo>
                  <a:pt x="92019" y="3103612"/>
                  <a:pt x="-586" y="3063981"/>
                  <a:pt x="3" y="2904476"/>
                </a:cubicBezTo>
                <a:lnTo>
                  <a:pt x="5498" y="1524843"/>
                </a:lnTo>
                <a:cubicBezTo>
                  <a:pt x="5498" y="1365339"/>
                  <a:pt x="99866" y="1146583"/>
                  <a:pt x="214637" y="1035934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64B5F9CE-D3E8-3BD0-08E1-F1E5FC20BF1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95146" y="2837674"/>
            <a:ext cx="2796853" cy="4020327"/>
          </a:xfrm>
          <a:custGeom>
            <a:avLst/>
            <a:gdLst>
              <a:gd name="connsiteX0" fmla="*/ 2796853 w 2796853"/>
              <a:gd name="connsiteY0" fmla="*/ 0 h 4020327"/>
              <a:gd name="connsiteX1" fmla="*/ 2796853 w 2796853"/>
              <a:gd name="connsiteY1" fmla="*/ 2233857 h 4020327"/>
              <a:gd name="connsiteX2" fmla="*/ 937626 w 2796853"/>
              <a:gd name="connsiteY2" fmla="*/ 4020327 h 4020327"/>
              <a:gd name="connsiteX3" fmla="*/ 0 w 2796853"/>
              <a:gd name="connsiteY3" fmla="*/ 4020327 h 4020327"/>
              <a:gd name="connsiteX4" fmla="*/ 3988 w 2796853"/>
              <a:gd name="connsiteY4" fmla="*/ 3019106 h 4020327"/>
              <a:gd name="connsiteX5" fmla="*/ 242877 w 2796853"/>
              <a:gd name="connsiteY5" fmla="*/ 2460649 h 4020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96853" h="4020327">
                <a:moveTo>
                  <a:pt x="2796853" y="0"/>
                </a:moveTo>
                <a:lnTo>
                  <a:pt x="2796853" y="2233857"/>
                </a:lnTo>
                <a:lnTo>
                  <a:pt x="937626" y="4020327"/>
                </a:lnTo>
                <a:lnTo>
                  <a:pt x="0" y="4020327"/>
                </a:lnTo>
                <a:lnTo>
                  <a:pt x="3988" y="3019106"/>
                </a:lnTo>
                <a:cubicBezTo>
                  <a:pt x="3988" y="2836913"/>
                  <a:pt x="111779" y="2587038"/>
                  <a:pt x="242877" y="246064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38" name="Text Placeholder 16">
            <a:extLst>
              <a:ext uri="{FF2B5EF4-FFF2-40B4-BE49-F238E27FC236}">
                <a16:creationId xmlns:a16="http://schemas.microsoft.com/office/drawing/2014/main" id="{C988D38C-4ACE-4EBE-659A-4DABA52F91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5823" y="1764973"/>
            <a:ext cx="6972345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9" name="Title 6">
            <a:extLst>
              <a:ext uri="{FF2B5EF4-FFF2-40B4-BE49-F238E27FC236}">
                <a16:creationId xmlns:a16="http://schemas.microsoft.com/office/drawing/2014/main" id="{81A7BADE-6A14-3A6C-FD8E-B3FC5E42D4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257" y="332657"/>
            <a:ext cx="6971875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82991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Text Placeholder 137">
            <a:extLst>
              <a:ext uri="{FF2B5EF4-FFF2-40B4-BE49-F238E27FC236}">
                <a16:creationId xmlns:a16="http://schemas.microsoft.com/office/drawing/2014/main" id="{AF655483-0C24-4907-8772-5DE2404EA8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2"/>
            <a:ext cx="4950288" cy="6841155"/>
          </a:xfrm>
          <a:custGeom>
            <a:avLst/>
            <a:gdLst>
              <a:gd name="connsiteX0" fmla="*/ 2470295 w 4950288"/>
              <a:gd name="connsiteY0" fmla="*/ 0 h 6841155"/>
              <a:gd name="connsiteX1" fmla="*/ 4950288 w 4950288"/>
              <a:gd name="connsiteY1" fmla="*/ 0 h 6841155"/>
              <a:gd name="connsiteX2" fmla="*/ 4950288 w 4950288"/>
              <a:gd name="connsiteY2" fmla="*/ 2199465 h 6841155"/>
              <a:gd name="connsiteX3" fmla="*/ 4377784 w 4950288"/>
              <a:gd name="connsiteY3" fmla="*/ 3543592 h 6841155"/>
              <a:gd name="connsiteX4" fmla="*/ 945922 w 4950288"/>
              <a:gd name="connsiteY4" fmla="*/ 6841155 h 6841155"/>
              <a:gd name="connsiteX5" fmla="*/ 0 w 4950288"/>
              <a:gd name="connsiteY5" fmla="*/ 6841155 h 6841155"/>
              <a:gd name="connsiteX6" fmla="*/ 0 w 4950288"/>
              <a:gd name="connsiteY6" fmla="*/ 2380026 h 6841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0288" h="6841155">
                <a:moveTo>
                  <a:pt x="2470295" y="0"/>
                </a:moveTo>
                <a:lnTo>
                  <a:pt x="4950288" y="0"/>
                </a:lnTo>
                <a:lnTo>
                  <a:pt x="4950288" y="2199465"/>
                </a:lnTo>
                <a:cubicBezTo>
                  <a:pt x="4950288" y="2638162"/>
                  <a:pt x="4693977" y="3239797"/>
                  <a:pt x="4377784" y="3543592"/>
                </a:cubicBezTo>
                <a:lnTo>
                  <a:pt x="945922" y="6841155"/>
                </a:lnTo>
                <a:lnTo>
                  <a:pt x="0" y="6841155"/>
                </a:lnTo>
                <a:lnTo>
                  <a:pt x="0" y="2380026"/>
                </a:lnTo>
                <a:close/>
              </a:path>
            </a:pathLst>
          </a:custGeom>
          <a:solidFill>
            <a:schemeClr val="accent2">
              <a:alpha val="4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E891FE4E-F382-C0D6-872B-B4A28FB7025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711385"/>
            <a:ext cx="2949628" cy="5539194"/>
          </a:xfrm>
          <a:custGeom>
            <a:avLst/>
            <a:gdLst>
              <a:gd name="connsiteX0" fmla="*/ 2813384 w 2949628"/>
              <a:gd name="connsiteY0" fmla="*/ 41 h 5539194"/>
              <a:gd name="connsiteX1" fmla="*/ 2949628 w 2949628"/>
              <a:gd name="connsiteY1" fmla="*/ 224663 h 5539194"/>
              <a:gd name="connsiteX2" fmla="*/ 2949628 w 2949628"/>
              <a:gd name="connsiteY2" fmla="*/ 2275772 h 5539194"/>
              <a:gd name="connsiteX3" fmla="*/ 2640154 w 2949628"/>
              <a:gd name="connsiteY3" fmla="*/ 3002357 h 5539194"/>
              <a:gd name="connsiteX4" fmla="*/ 0 w 2949628"/>
              <a:gd name="connsiteY4" fmla="*/ 5539194 h 5539194"/>
              <a:gd name="connsiteX5" fmla="*/ 0 w 2949628"/>
              <a:gd name="connsiteY5" fmla="*/ 2637067 h 5539194"/>
              <a:gd name="connsiteX6" fmla="*/ 2640444 w 2949628"/>
              <a:gd name="connsiteY6" fmla="*/ 93109 h 5539194"/>
              <a:gd name="connsiteX7" fmla="*/ 2813384 w 2949628"/>
              <a:gd name="connsiteY7" fmla="*/ 41 h 5539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9628" h="5539194">
                <a:moveTo>
                  <a:pt x="2813384" y="41"/>
                </a:moveTo>
                <a:cubicBezTo>
                  <a:pt x="2895620" y="-2032"/>
                  <a:pt x="2949628" y="76448"/>
                  <a:pt x="2949628" y="224663"/>
                </a:cubicBezTo>
                <a:lnTo>
                  <a:pt x="2949628" y="2275772"/>
                </a:lnTo>
                <a:cubicBezTo>
                  <a:pt x="2949628" y="2512915"/>
                  <a:pt x="2811076" y="2838136"/>
                  <a:pt x="2640154" y="3002357"/>
                </a:cubicBezTo>
                <a:lnTo>
                  <a:pt x="0" y="5539194"/>
                </a:lnTo>
                <a:lnTo>
                  <a:pt x="0" y="2637067"/>
                </a:lnTo>
                <a:lnTo>
                  <a:pt x="2640444" y="93109"/>
                </a:lnTo>
                <a:cubicBezTo>
                  <a:pt x="2704540" y="31529"/>
                  <a:pt x="2764043" y="1286"/>
                  <a:pt x="2813384" y="4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1" name="Text Placeholder 16">
            <a:extLst>
              <a:ext uri="{FF2B5EF4-FFF2-40B4-BE49-F238E27FC236}">
                <a16:creationId xmlns:a16="http://schemas.microsoft.com/office/drawing/2014/main" id="{F59625D9-6BB4-4109-AC45-89E806A187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75720" y="1764973"/>
            <a:ext cx="7992393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2" name="Title 6">
            <a:extLst>
              <a:ext uri="{FF2B5EF4-FFF2-40B4-BE49-F238E27FC236}">
                <a16:creationId xmlns:a16="http://schemas.microsoft.com/office/drawing/2014/main" id="{783F3316-1F89-DBDA-5FEE-D86A5796B7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6259" y="332657"/>
            <a:ext cx="7991854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5" name="Text Placeholder 134">
            <a:extLst>
              <a:ext uri="{FF2B5EF4-FFF2-40B4-BE49-F238E27FC236}">
                <a16:creationId xmlns:a16="http://schemas.microsoft.com/office/drawing/2014/main" id="{315CD7DB-182D-5366-1F14-F32CECBABF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0141" y="3501440"/>
            <a:ext cx="3407492" cy="3356558"/>
          </a:xfrm>
          <a:custGeom>
            <a:avLst/>
            <a:gdLst>
              <a:gd name="connsiteX0" fmla="*/ 103347 w 3407492"/>
              <a:gd name="connsiteY0" fmla="*/ 31 h 3356558"/>
              <a:gd name="connsiteX1" fmla="*/ 234529 w 3407492"/>
              <a:gd name="connsiteY1" fmla="*/ 70627 h 3356558"/>
              <a:gd name="connsiteX2" fmla="*/ 3183188 w 3407492"/>
              <a:gd name="connsiteY2" fmla="*/ 2911537 h 3356558"/>
              <a:gd name="connsiteX3" fmla="*/ 3400391 w 3407492"/>
              <a:gd name="connsiteY3" fmla="*/ 3318409 h 3356558"/>
              <a:gd name="connsiteX4" fmla="*/ 3407492 w 3407492"/>
              <a:gd name="connsiteY4" fmla="*/ 3356558 h 3356558"/>
              <a:gd name="connsiteX5" fmla="*/ 1357837 w 3407492"/>
              <a:gd name="connsiteY5" fmla="*/ 3356558 h 3356558"/>
              <a:gd name="connsiteX6" fmla="*/ 234749 w 3407492"/>
              <a:gd name="connsiteY6" fmla="*/ 2277420 h 3356558"/>
              <a:gd name="connsiteX7" fmla="*/ 0 w 3407492"/>
              <a:gd name="connsiteY7" fmla="*/ 1726274 h 3356558"/>
              <a:gd name="connsiteX8" fmla="*/ 0 w 3407492"/>
              <a:gd name="connsiteY8" fmla="*/ 170416 h 3356558"/>
              <a:gd name="connsiteX9" fmla="*/ 103347 w 3407492"/>
              <a:gd name="connsiteY9" fmla="*/ 31 h 3356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7492" h="3356558">
                <a:moveTo>
                  <a:pt x="103347" y="31"/>
                </a:moveTo>
                <a:cubicBezTo>
                  <a:pt x="140774" y="975"/>
                  <a:pt x="185910" y="23916"/>
                  <a:pt x="234529" y="70627"/>
                </a:cubicBezTo>
                <a:lnTo>
                  <a:pt x="3183188" y="2911537"/>
                </a:lnTo>
                <a:cubicBezTo>
                  <a:pt x="3280262" y="3005125"/>
                  <a:pt x="3364393" y="3167290"/>
                  <a:pt x="3400391" y="3318409"/>
                </a:cubicBezTo>
                <a:lnTo>
                  <a:pt x="3407492" y="3356558"/>
                </a:lnTo>
                <a:lnTo>
                  <a:pt x="1357837" y="3356558"/>
                </a:lnTo>
                <a:lnTo>
                  <a:pt x="234749" y="2277420"/>
                </a:lnTo>
                <a:cubicBezTo>
                  <a:pt x="105098" y="2152852"/>
                  <a:pt x="0" y="1906157"/>
                  <a:pt x="0" y="1726274"/>
                </a:cubicBezTo>
                <a:lnTo>
                  <a:pt x="0" y="170416"/>
                </a:lnTo>
                <a:cubicBezTo>
                  <a:pt x="0" y="57989"/>
                  <a:pt x="40968" y="-1542"/>
                  <a:pt x="103347" y="31"/>
                </a:cubicBezTo>
                <a:close/>
              </a:path>
            </a:pathLst>
          </a:custGeom>
          <a:solidFill>
            <a:srgbClr val="F07E26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1" name="Text Placeholder 140">
            <a:extLst>
              <a:ext uri="{FF2B5EF4-FFF2-40B4-BE49-F238E27FC236}">
                <a16:creationId xmlns:a16="http://schemas.microsoft.com/office/drawing/2014/main" id="{778B168F-4EED-21A2-E736-EB00F72A905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4586" y="1"/>
            <a:ext cx="2780826" cy="2612989"/>
          </a:xfrm>
          <a:custGeom>
            <a:avLst/>
            <a:gdLst>
              <a:gd name="connsiteX0" fmla="*/ 946876 w 2780826"/>
              <a:gd name="connsiteY0" fmla="*/ 0 h 2612989"/>
              <a:gd name="connsiteX1" fmla="*/ 2780826 w 2780826"/>
              <a:gd name="connsiteY1" fmla="*/ 0 h 2612989"/>
              <a:gd name="connsiteX2" fmla="*/ 2729916 w 2780826"/>
              <a:gd name="connsiteY2" fmla="*/ 96513 h 2612989"/>
              <a:gd name="connsiteX3" fmla="*/ 2653907 w 2780826"/>
              <a:gd name="connsiteY3" fmla="*/ 190819 h 2612989"/>
              <a:gd name="connsiteX4" fmla="*/ 194167 w 2780826"/>
              <a:gd name="connsiteY4" fmla="*/ 2554302 h 2612989"/>
              <a:gd name="connsiteX5" fmla="*/ 3 w 2780826"/>
              <a:gd name="connsiteY5" fmla="*/ 2471113 h 2612989"/>
              <a:gd name="connsiteX6" fmla="*/ 5158 w 2780826"/>
              <a:gd name="connsiteY6" fmla="*/ 1176920 h 2612989"/>
              <a:gd name="connsiteX7" fmla="*/ 201345 w 2780826"/>
              <a:gd name="connsiteY7" fmla="*/ 718288 h 2612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80826" h="2612989">
                <a:moveTo>
                  <a:pt x="946876" y="0"/>
                </a:moveTo>
                <a:lnTo>
                  <a:pt x="2780826" y="0"/>
                </a:lnTo>
                <a:lnTo>
                  <a:pt x="2729916" y="96513"/>
                </a:lnTo>
                <a:cubicBezTo>
                  <a:pt x="2706554" y="132660"/>
                  <a:pt x="2680869" y="164914"/>
                  <a:pt x="2653907" y="190819"/>
                </a:cubicBezTo>
                <a:lnTo>
                  <a:pt x="194167" y="2554302"/>
                </a:lnTo>
                <a:cubicBezTo>
                  <a:pt x="86320" y="2657916"/>
                  <a:pt x="-549" y="2620739"/>
                  <a:pt x="3" y="2471113"/>
                </a:cubicBezTo>
                <a:lnTo>
                  <a:pt x="5158" y="1176920"/>
                </a:lnTo>
                <a:cubicBezTo>
                  <a:pt x="5158" y="1027293"/>
                  <a:pt x="93681" y="822085"/>
                  <a:pt x="201345" y="718288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71830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201D88E4-56DF-0AA6-46D1-411796C513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68009" y="997575"/>
            <a:ext cx="6023991" cy="5860425"/>
          </a:xfrm>
          <a:custGeom>
            <a:avLst/>
            <a:gdLst>
              <a:gd name="connsiteX0" fmla="*/ 6023991 w 6023991"/>
              <a:gd name="connsiteY0" fmla="*/ 0 h 5860425"/>
              <a:gd name="connsiteX1" fmla="*/ 6023991 w 6023991"/>
              <a:gd name="connsiteY1" fmla="*/ 5860425 h 5860425"/>
              <a:gd name="connsiteX2" fmla="*/ 0 w 6023991"/>
              <a:gd name="connsiteY2" fmla="*/ 5860425 h 586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3991" h="5860425">
                <a:moveTo>
                  <a:pt x="6023991" y="0"/>
                </a:moveTo>
                <a:lnTo>
                  <a:pt x="6023991" y="5860425"/>
                </a:lnTo>
                <a:lnTo>
                  <a:pt x="0" y="5860425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8" name="Text Placeholder 16">
            <a:extLst>
              <a:ext uri="{FF2B5EF4-FFF2-40B4-BE49-F238E27FC236}">
                <a16:creationId xmlns:a16="http://schemas.microsoft.com/office/drawing/2014/main" id="{24696413-086A-CF84-AD7F-61BE215180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5823" y="1764973"/>
            <a:ext cx="6972345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9" name="Title 6">
            <a:extLst>
              <a:ext uri="{FF2B5EF4-FFF2-40B4-BE49-F238E27FC236}">
                <a16:creationId xmlns:a16="http://schemas.microsoft.com/office/drawing/2014/main" id="{901F54B5-3F7C-0C3C-06B5-160E68DC42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257" y="332657"/>
            <a:ext cx="6971875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2" name="Text Placeholder 141">
            <a:extLst>
              <a:ext uri="{FF2B5EF4-FFF2-40B4-BE49-F238E27FC236}">
                <a16:creationId xmlns:a16="http://schemas.microsoft.com/office/drawing/2014/main" id="{6B191277-17B0-6D43-372E-9466D2D4431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66579" y="3582252"/>
            <a:ext cx="3439851" cy="3275748"/>
          </a:xfrm>
          <a:custGeom>
            <a:avLst/>
            <a:gdLst>
              <a:gd name="connsiteX0" fmla="*/ 105769 w 3439851"/>
              <a:gd name="connsiteY0" fmla="*/ 32 h 3275748"/>
              <a:gd name="connsiteX1" fmla="*/ 240027 w 3439851"/>
              <a:gd name="connsiteY1" fmla="*/ 72283 h 3275748"/>
              <a:gd name="connsiteX2" fmla="*/ 3257802 w 3439851"/>
              <a:gd name="connsiteY2" fmla="*/ 2979783 h 3275748"/>
              <a:gd name="connsiteX3" fmla="*/ 3428167 w 3439851"/>
              <a:gd name="connsiteY3" fmla="*/ 3240781 h 3275748"/>
              <a:gd name="connsiteX4" fmla="*/ 3439851 w 3439851"/>
              <a:gd name="connsiteY4" fmla="*/ 3275748 h 3275748"/>
              <a:gd name="connsiteX5" fmla="*/ 1223682 w 3439851"/>
              <a:gd name="connsiteY5" fmla="*/ 3275748 h 3275748"/>
              <a:gd name="connsiteX6" fmla="*/ 240252 w 3439851"/>
              <a:gd name="connsiteY6" fmla="*/ 2330803 h 3275748"/>
              <a:gd name="connsiteX7" fmla="*/ 0 w 3439851"/>
              <a:gd name="connsiteY7" fmla="*/ 1766737 h 3275748"/>
              <a:gd name="connsiteX8" fmla="*/ 0 w 3439851"/>
              <a:gd name="connsiteY8" fmla="*/ 174411 h 3275748"/>
              <a:gd name="connsiteX9" fmla="*/ 105769 w 3439851"/>
              <a:gd name="connsiteY9" fmla="*/ 32 h 327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39851" h="3275748">
                <a:moveTo>
                  <a:pt x="105769" y="32"/>
                </a:moveTo>
                <a:cubicBezTo>
                  <a:pt x="144074" y="998"/>
                  <a:pt x="190268" y="24477"/>
                  <a:pt x="240027" y="72283"/>
                </a:cubicBezTo>
                <a:lnTo>
                  <a:pt x="3257802" y="2979783"/>
                </a:lnTo>
                <a:cubicBezTo>
                  <a:pt x="3324035" y="3043637"/>
                  <a:pt x="3384380" y="3138685"/>
                  <a:pt x="3428167" y="3240781"/>
                </a:cubicBezTo>
                <a:lnTo>
                  <a:pt x="3439851" y="3275748"/>
                </a:lnTo>
                <a:lnTo>
                  <a:pt x="1223682" y="3275748"/>
                </a:lnTo>
                <a:lnTo>
                  <a:pt x="240252" y="2330803"/>
                </a:lnTo>
                <a:cubicBezTo>
                  <a:pt x="107561" y="2203315"/>
                  <a:pt x="0" y="1950837"/>
                  <a:pt x="0" y="1766737"/>
                </a:cubicBezTo>
                <a:lnTo>
                  <a:pt x="0" y="174411"/>
                </a:lnTo>
                <a:cubicBezTo>
                  <a:pt x="0" y="59349"/>
                  <a:pt x="41928" y="-1578"/>
                  <a:pt x="105769" y="32"/>
                </a:cubicBezTo>
                <a:close/>
              </a:path>
            </a:pathLst>
          </a:custGeom>
          <a:solidFill>
            <a:srgbClr val="27257A">
              <a:alpha val="40000"/>
            </a:srgb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27257A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08E03413-6338-5E7A-B5D1-13E6D8643C3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49430" y="3824580"/>
            <a:ext cx="3306404" cy="3033420"/>
          </a:xfrm>
          <a:custGeom>
            <a:avLst/>
            <a:gdLst>
              <a:gd name="connsiteX0" fmla="*/ 3200634 w 3306404"/>
              <a:gd name="connsiteY0" fmla="*/ 32 h 3033420"/>
              <a:gd name="connsiteX1" fmla="*/ 3306404 w 3306404"/>
              <a:gd name="connsiteY1" fmla="*/ 174411 h 3033420"/>
              <a:gd name="connsiteX2" fmla="*/ 3306404 w 3306404"/>
              <a:gd name="connsiteY2" fmla="*/ 1766737 h 3033420"/>
              <a:gd name="connsiteX3" fmla="*/ 3066152 w 3306404"/>
              <a:gd name="connsiteY3" fmla="*/ 2330803 h 3033420"/>
              <a:gd name="connsiteX4" fmla="*/ 2334919 w 3306404"/>
              <a:gd name="connsiteY4" fmla="*/ 3033420 h 3033420"/>
              <a:gd name="connsiteX5" fmla="*/ 0 w 3306404"/>
              <a:gd name="connsiteY5" fmla="*/ 3033420 h 3033420"/>
              <a:gd name="connsiteX6" fmla="*/ 198 w 3306404"/>
              <a:gd name="connsiteY6" fmla="*/ 3033145 h 3033420"/>
              <a:gd name="connsiteX7" fmla="*/ 48602 w 3306404"/>
              <a:gd name="connsiteY7" fmla="*/ 2979783 h 3033420"/>
              <a:gd name="connsiteX8" fmla="*/ 3066377 w 3306404"/>
              <a:gd name="connsiteY8" fmla="*/ 72283 h 3033420"/>
              <a:gd name="connsiteX9" fmla="*/ 3200634 w 3306404"/>
              <a:gd name="connsiteY9" fmla="*/ 32 h 3033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06404" h="3033420">
                <a:moveTo>
                  <a:pt x="3200634" y="32"/>
                </a:moveTo>
                <a:cubicBezTo>
                  <a:pt x="3264476" y="-1578"/>
                  <a:pt x="3306404" y="59349"/>
                  <a:pt x="3306404" y="174411"/>
                </a:cubicBezTo>
                <a:lnTo>
                  <a:pt x="3306404" y="1766737"/>
                </a:lnTo>
                <a:cubicBezTo>
                  <a:pt x="3306404" y="1950837"/>
                  <a:pt x="3198843" y="2203315"/>
                  <a:pt x="3066152" y="2330803"/>
                </a:cubicBezTo>
                <a:lnTo>
                  <a:pt x="2334919" y="3033420"/>
                </a:lnTo>
                <a:lnTo>
                  <a:pt x="0" y="3033420"/>
                </a:lnTo>
                <a:lnTo>
                  <a:pt x="198" y="3033145"/>
                </a:lnTo>
                <a:cubicBezTo>
                  <a:pt x="15854" y="3013660"/>
                  <a:pt x="32044" y="2995747"/>
                  <a:pt x="48602" y="2979783"/>
                </a:cubicBezTo>
                <a:lnTo>
                  <a:pt x="3066377" y="72283"/>
                </a:lnTo>
                <a:cubicBezTo>
                  <a:pt x="3116136" y="24477"/>
                  <a:pt x="3162330" y="998"/>
                  <a:pt x="3200634" y="3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9C89B243-2F97-EFE0-7F5A-0D7B82D559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403639" y="2520239"/>
            <a:ext cx="2788363" cy="4337761"/>
          </a:xfrm>
          <a:custGeom>
            <a:avLst/>
            <a:gdLst>
              <a:gd name="connsiteX0" fmla="*/ 2788363 w 2788363"/>
              <a:gd name="connsiteY0" fmla="*/ 0 h 4337761"/>
              <a:gd name="connsiteX1" fmla="*/ 2788363 w 2788363"/>
              <a:gd name="connsiteY1" fmla="*/ 2257070 h 4337761"/>
              <a:gd name="connsiteX2" fmla="*/ 622932 w 2788363"/>
              <a:gd name="connsiteY2" fmla="*/ 4337761 h 4337761"/>
              <a:gd name="connsiteX3" fmla="*/ 0 w 2788363"/>
              <a:gd name="connsiteY3" fmla="*/ 4337761 h 4337761"/>
              <a:gd name="connsiteX4" fmla="*/ 5277 w 2788363"/>
              <a:gd name="connsiteY4" fmla="*/ 3013111 h 4337761"/>
              <a:gd name="connsiteX5" fmla="*/ 246658 w 2788363"/>
              <a:gd name="connsiteY5" fmla="*/ 2448826 h 4337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88363" h="4337761">
                <a:moveTo>
                  <a:pt x="2788363" y="0"/>
                </a:moveTo>
                <a:lnTo>
                  <a:pt x="2788363" y="2257070"/>
                </a:lnTo>
                <a:lnTo>
                  <a:pt x="622932" y="4337761"/>
                </a:lnTo>
                <a:lnTo>
                  <a:pt x="0" y="4337761"/>
                </a:lnTo>
                <a:lnTo>
                  <a:pt x="5277" y="3013111"/>
                </a:lnTo>
                <a:cubicBezTo>
                  <a:pt x="5277" y="2829016"/>
                  <a:pt x="114192" y="2576534"/>
                  <a:pt x="246658" y="2448826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09756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ext Placeholder 131">
            <a:extLst>
              <a:ext uri="{FF2B5EF4-FFF2-40B4-BE49-F238E27FC236}">
                <a16:creationId xmlns:a16="http://schemas.microsoft.com/office/drawing/2014/main" id="{EFC71865-06BE-A4E3-2B04-E70CE51DB33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2515316"/>
            <a:ext cx="4476959" cy="4342684"/>
          </a:xfrm>
          <a:custGeom>
            <a:avLst/>
            <a:gdLst>
              <a:gd name="connsiteX0" fmla="*/ 0 w 4476959"/>
              <a:gd name="connsiteY0" fmla="*/ 0 h 4342684"/>
              <a:gd name="connsiteX1" fmla="*/ 4265976 w 4476959"/>
              <a:gd name="connsiteY1" fmla="*/ 4110090 h 4342684"/>
              <a:gd name="connsiteX2" fmla="*/ 4476959 w 4476959"/>
              <a:gd name="connsiteY2" fmla="*/ 4342684 h 4342684"/>
              <a:gd name="connsiteX3" fmla="*/ 0 w 4476959"/>
              <a:gd name="connsiteY3" fmla="*/ 4342684 h 43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76959" h="4342684">
                <a:moveTo>
                  <a:pt x="0" y="0"/>
                </a:moveTo>
                <a:lnTo>
                  <a:pt x="4265976" y="4110090"/>
                </a:lnTo>
                <a:lnTo>
                  <a:pt x="4476959" y="4342684"/>
                </a:lnTo>
                <a:lnTo>
                  <a:pt x="0" y="4342684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5" name="Text Placeholder 16">
            <a:extLst>
              <a:ext uri="{FF2B5EF4-FFF2-40B4-BE49-F238E27FC236}">
                <a16:creationId xmlns:a16="http://schemas.microsoft.com/office/drawing/2014/main" id="{A205015B-D9D2-4C2E-8ADD-D765DE1120E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69769" y="1764973"/>
            <a:ext cx="6198344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6" name="Title 6">
            <a:extLst>
              <a:ext uri="{FF2B5EF4-FFF2-40B4-BE49-F238E27FC236}">
                <a16:creationId xmlns:a16="http://schemas.microsoft.com/office/drawing/2014/main" id="{F47342DE-2AF2-7209-DD6B-B5B02D4754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0187" y="332657"/>
            <a:ext cx="619792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0568114B-1607-9400-3EE7-3120123CEDB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1"/>
            <a:ext cx="2863438" cy="6285957"/>
          </a:xfrm>
          <a:custGeom>
            <a:avLst/>
            <a:gdLst>
              <a:gd name="connsiteX0" fmla="*/ 0 w 2863438"/>
              <a:gd name="connsiteY0" fmla="*/ 0 h 6285957"/>
              <a:gd name="connsiteX1" fmla="*/ 834528 w 2863438"/>
              <a:gd name="connsiteY1" fmla="*/ 0 h 6285957"/>
              <a:gd name="connsiteX2" fmla="*/ 2350678 w 2863438"/>
              <a:gd name="connsiteY2" fmla="*/ 1460747 h 6285957"/>
              <a:gd name="connsiteX3" fmla="*/ 2850304 w 2863438"/>
              <a:gd name="connsiteY3" fmla="*/ 2628739 h 6285957"/>
              <a:gd name="connsiteX4" fmla="*/ 2863432 w 2863438"/>
              <a:gd name="connsiteY4" fmla="*/ 5924642 h 6285957"/>
              <a:gd name="connsiteX5" fmla="*/ 2368957 w 2863438"/>
              <a:gd name="connsiteY5" fmla="*/ 6136499 h 6285957"/>
              <a:gd name="connsiteX6" fmla="*/ 0 w 2863438"/>
              <a:gd name="connsiteY6" fmla="*/ 3860246 h 62859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63438" h="6285957">
                <a:moveTo>
                  <a:pt x="0" y="0"/>
                </a:moveTo>
                <a:lnTo>
                  <a:pt x="834528" y="0"/>
                </a:lnTo>
                <a:lnTo>
                  <a:pt x="2350678" y="1460747"/>
                </a:lnTo>
                <a:cubicBezTo>
                  <a:pt x="2624864" y="1725085"/>
                  <a:pt x="2850304" y="2247688"/>
                  <a:pt x="2850304" y="2628739"/>
                </a:cubicBezTo>
                <a:lnTo>
                  <a:pt x="2863432" y="5924642"/>
                </a:lnTo>
                <a:cubicBezTo>
                  <a:pt x="2864839" y="6305693"/>
                  <a:pt x="2643609" y="6400372"/>
                  <a:pt x="2368957" y="6136499"/>
                </a:cubicBezTo>
                <a:lnTo>
                  <a:pt x="0" y="3860246"/>
                </a:lnTo>
                <a:close/>
              </a:path>
            </a:pathLst>
          </a:custGeom>
          <a:solidFill>
            <a:srgbClr val="FFDC00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FDC00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38217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lex Colour ">
    <p:bg>
      <p:bgPr>
        <a:solidFill>
          <a:srgbClr val="00508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17DF1-F875-3053-8A46-A378A33AD5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EE3D58-6377-D571-44D9-7DAF1F32C144}"/>
              </a:ext>
            </a:extLst>
          </p:cNvPr>
          <p:cNvSpPr/>
          <p:nvPr userDrawn="1"/>
        </p:nvSpPr>
        <p:spPr>
          <a:xfrm>
            <a:off x="0" y="3284984"/>
            <a:ext cx="3719736" cy="3573016"/>
          </a:xfrm>
          <a:prstGeom prst="triangle">
            <a:avLst>
              <a:gd name="adj" fmla="val 0"/>
            </a:avLst>
          </a:prstGeom>
          <a:solidFill>
            <a:schemeClr val="accent3"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AC1B317-FFB1-4AF9-B3D7-2FC2CEF09CF1}"/>
              </a:ext>
            </a:extLst>
          </p:cNvPr>
          <p:cNvSpPr/>
          <p:nvPr userDrawn="1"/>
        </p:nvSpPr>
        <p:spPr>
          <a:xfrm>
            <a:off x="7035756" y="0"/>
            <a:ext cx="4634708" cy="4221744"/>
          </a:xfrm>
          <a:custGeom>
            <a:avLst/>
            <a:gdLst>
              <a:gd name="connsiteX0" fmla="*/ 1185027 w 4634708"/>
              <a:gd name="connsiteY0" fmla="*/ 0 h 4221744"/>
              <a:gd name="connsiteX1" fmla="*/ 4634708 w 4634708"/>
              <a:gd name="connsiteY1" fmla="*/ 0 h 4221744"/>
              <a:gd name="connsiteX2" fmla="*/ 351638 w 4634708"/>
              <a:gd name="connsiteY2" fmla="*/ 4115461 h 4221744"/>
              <a:gd name="connsiteX3" fmla="*/ 5 w 4634708"/>
              <a:gd name="connsiteY3" fmla="*/ 3964804 h 4221744"/>
              <a:gd name="connsiteX4" fmla="*/ 9340 w 4634708"/>
              <a:gd name="connsiteY4" fmla="*/ 1621000 h 4221744"/>
              <a:gd name="connsiteX5" fmla="*/ 364638 w 4634708"/>
              <a:gd name="connsiteY5" fmla="*/ 790411 h 422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34708" h="4221744">
                <a:moveTo>
                  <a:pt x="1185027" y="0"/>
                </a:moveTo>
                <a:lnTo>
                  <a:pt x="4634708" y="0"/>
                </a:lnTo>
                <a:lnTo>
                  <a:pt x="351638" y="4115461"/>
                </a:lnTo>
                <a:cubicBezTo>
                  <a:pt x="156326" y="4303107"/>
                  <a:pt x="-996" y="4235779"/>
                  <a:pt x="5" y="3964804"/>
                </a:cubicBezTo>
                <a:lnTo>
                  <a:pt x="9340" y="1621000"/>
                </a:lnTo>
                <a:cubicBezTo>
                  <a:pt x="9340" y="1350025"/>
                  <a:pt x="169657" y="978388"/>
                  <a:pt x="364638" y="790411"/>
                </a:cubicBezTo>
                <a:close/>
              </a:path>
            </a:pathLst>
          </a:custGeom>
          <a:solidFill>
            <a:schemeClr val="accent6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9CCE8B8-D6FD-916E-7AE1-0514DC85C383}"/>
              </a:ext>
            </a:extLst>
          </p:cNvPr>
          <p:cNvSpPr/>
          <p:nvPr userDrawn="1"/>
        </p:nvSpPr>
        <p:spPr>
          <a:xfrm>
            <a:off x="1574997" y="1354583"/>
            <a:ext cx="4809036" cy="5517250"/>
          </a:xfrm>
          <a:custGeom>
            <a:avLst/>
            <a:gdLst>
              <a:gd name="connsiteX0" fmla="*/ 5103820 w 5262813"/>
              <a:gd name="connsiteY0" fmla="*/ 47 h 6037853"/>
              <a:gd name="connsiteX1" fmla="*/ 5262813 w 5262813"/>
              <a:gd name="connsiteY1" fmla="*/ 262175 h 6037853"/>
              <a:gd name="connsiteX2" fmla="*/ 5262813 w 5262813"/>
              <a:gd name="connsiteY2" fmla="*/ 2655765 h 6037853"/>
              <a:gd name="connsiteX3" fmla="*/ 4901666 w 5262813"/>
              <a:gd name="connsiteY3" fmla="*/ 3503669 h 6037853"/>
              <a:gd name="connsiteX4" fmla="*/ 2264273 w 5262813"/>
              <a:gd name="connsiteY4" fmla="*/ 6037853 h 6037853"/>
              <a:gd name="connsiteX5" fmla="*/ 0 w 5262813"/>
              <a:gd name="connsiteY5" fmla="*/ 6037853 h 6037853"/>
              <a:gd name="connsiteX6" fmla="*/ 2829 w 5262813"/>
              <a:gd name="connsiteY6" fmla="*/ 5327454 h 6037853"/>
              <a:gd name="connsiteX7" fmla="*/ 365675 w 5262813"/>
              <a:gd name="connsiteY7" fmla="*/ 4479218 h 6037853"/>
              <a:gd name="connsiteX8" fmla="*/ 4902004 w 5262813"/>
              <a:gd name="connsiteY8" fmla="*/ 108655 h 6037853"/>
              <a:gd name="connsiteX9" fmla="*/ 5103820 w 5262813"/>
              <a:gd name="connsiteY9" fmla="*/ 47 h 6037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62813" h="6037853">
                <a:moveTo>
                  <a:pt x="5103820" y="47"/>
                </a:moveTo>
                <a:cubicBezTo>
                  <a:pt x="5199787" y="-2372"/>
                  <a:pt x="5262813" y="89212"/>
                  <a:pt x="5262813" y="262175"/>
                </a:cubicBezTo>
                <a:lnTo>
                  <a:pt x="5262813" y="2655765"/>
                </a:lnTo>
                <a:cubicBezTo>
                  <a:pt x="5262813" y="2932504"/>
                  <a:pt x="5101127" y="3312029"/>
                  <a:pt x="4901666" y="3503669"/>
                </a:cubicBezTo>
                <a:lnTo>
                  <a:pt x="2264273" y="6037853"/>
                </a:lnTo>
                <a:lnTo>
                  <a:pt x="0" y="6037853"/>
                </a:lnTo>
                <a:lnTo>
                  <a:pt x="2829" y="5327454"/>
                </a:lnTo>
                <a:cubicBezTo>
                  <a:pt x="2829" y="5050722"/>
                  <a:pt x="166552" y="4671190"/>
                  <a:pt x="365675" y="4479218"/>
                </a:cubicBezTo>
                <a:lnTo>
                  <a:pt x="4902004" y="108655"/>
                </a:lnTo>
                <a:cubicBezTo>
                  <a:pt x="4976802" y="36793"/>
                  <a:pt x="5046240" y="1499"/>
                  <a:pt x="5103820" y="47"/>
                </a:cubicBezTo>
                <a:close/>
              </a:path>
            </a:pathLst>
          </a:custGeom>
          <a:solidFill>
            <a:schemeClr val="tx2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64CD0EB-91EF-7CDA-A593-6A48E2E128AA}"/>
              </a:ext>
            </a:extLst>
          </p:cNvPr>
          <p:cNvSpPr/>
          <p:nvPr userDrawn="1"/>
        </p:nvSpPr>
        <p:spPr>
          <a:xfrm>
            <a:off x="2924512" y="117600"/>
            <a:ext cx="7307022" cy="6740401"/>
          </a:xfrm>
          <a:custGeom>
            <a:avLst/>
            <a:gdLst>
              <a:gd name="connsiteX0" fmla="*/ 7075761 w 7307022"/>
              <a:gd name="connsiteY0" fmla="*/ 69 h 6740401"/>
              <a:gd name="connsiteX1" fmla="*/ 7307022 w 7307022"/>
              <a:gd name="connsiteY1" fmla="*/ 381343 h 6740401"/>
              <a:gd name="connsiteX2" fmla="*/ 7307022 w 7307022"/>
              <a:gd name="connsiteY2" fmla="*/ 3862913 h 6740401"/>
              <a:gd name="connsiteX3" fmla="*/ 6781719 w 7307022"/>
              <a:gd name="connsiteY3" fmla="*/ 5096222 h 6740401"/>
              <a:gd name="connsiteX4" fmla="*/ 5070578 w 7307022"/>
              <a:gd name="connsiteY4" fmla="*/ 6740401 h 6740401"/>
              <a:gd name="connsiteX5" fmla="*/ 0 w 7307022"/>
              <a:gd name="connsiteY5" fmla="*/ 6740401 h 6740401"/>
              <a:gd name="connsiteX6" fmla="*/ 78111 w 7307022"/>
              <a:gd name="connsiteY6" fmla="*/ 6631871 h 6740401"/>
              <a:gd name="connsiteX7" fmla="*/ 183945 w 7307022"/>
              <a:gd name="connsiteY7" fmla="*/ 6515197 h 6740401"/>
              <a:gd name="connsiteX8" fmla="*/ 6782211 w 7307022"/>
              <a:gd name="connsiteY8" fmla="*/ 158043 h 6740401"/>
              <a:gd name="connsiteX9" fmla="*/ 7075761 w 7307022"/>
              <a:gd name="connsiteY9" fmla="*/ 69 h 6740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7022" h="6740401">
                <a:moveTo>
                  <a:pt x="7075761" y="69"/>
                </a:moveTo>
                <a:cubicBezTo>
                  <a:pt x="7215348" y="-3451"/>
                  <a:pt x="7307022" y="129763"/>
                  <a:pt x="7307022" y="381343"/>
                </a:cubicBezTo>
                <a:lnTo>
                  <a:pt x="7307022" y="3862913"/>
                </a:lnTo>
                <a:cubicBezTo>
                  <a:pt x="7307022" y="4265441"/>
                  <a:pt x="7071844" y="4817474"/>
                  <a:pt x="6781719" y="5096222"/>
                </a:cubicBezTo>
                <a:lnTo>
                  <a:pt x="5070578" y="6740401"/>
                </a:lnTo>
                <a:lnTo>
                  <a:pt x="0" y="6740401"/>
                </a:lnTo>
                <a:lnTo>
                  <a:pt x="78111" y="6631871"/>
                </a:lnTo>
                <a:cubicBezTo>
                  <a:pt x="112342" y="6589267"/>
                  <a:pt x="147741" y="6550100"/>
                  <a:pt x="183945" y="6515197"/>
                </a:cubicBezTo>
                <a:lnTo>
                  <a:pt x="6782211" y="158043"/>
                </a:lnTo>
                <a:cubicBezTo>
                  <a:pt x="6891008" y="53516"/>
                  <a:pt x="6992009" y="2181"/>
                  <a:pt x="7075761" y="69"/>
                </a:cubicBezTo>
                <a:close/>
              </a:path>
            </a:pathLst>
          </a:custGeom>
          <a:solidFill>
            <a:schemeClr val="accent4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19724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5">
    <p:bg>
      <p:bgPr>
        <a:solidFill>
          <a:srgbClr val="005191">
            <a:alpha val="62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33A99E-B18C-C194-FBD8-725541014CB0}"/>
              </a:ext>
            </a:extLst>
          </p:cNvPr>
          <p:cNvSpPr/>
          <p:nvPr userDrawn="1"/>
        </p:nvSpPr>
        <p:spPr>
          <a:xfrm>
            <a:off x="1559496" y="0"/>
            <a:ext cx="10632504" cy="6858000"/>
          </a:xfrm>
          <a:custGeom>
            <a:avLst/>
            <a:gdLst>
              <a:gd name="connsiteX0" fmla="*/ 7056784 w 10632504"/>
              <a:gd name="connsiteY0" fmla="*/ 0 h 6858000"/>
              <a:gd name="connsiteX1" fmla="*/ 10632504 w 10632504"/>
              <a:gd name="connsiteY1" fmla="*/ 0 h 6858000"/>
              <a:gd name="connsiteX2" fmla="*/ 10632504 w 10632504"/>
              <a:gd name="connsiteY2" fmla="*/ 6857999 h 6858000"/>
              <a:gd name="connsiteX3" fmla="*/ 7110269 w 10632504"/>
              <a:gd name="connsiteY3" fmla="*/ 6857999 h 6858000"/>
              <a:gd name="connsiteX4" fmla="*/ 7110269 w 10632504"/>
              <a:gd name="connsiteY4" fmla="*/ 6858000 h 6858000"/>
              <a:gd name="connsiteX5" fmla="*/ 0 w 10632504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632504" h="6858000">
                <a:moveTo>
                  <a:pt x="7056784" y="0"/>
                </a:moveTo>
                <a:lnTo>
                  <a:pt x="10632504" y="0"/>
                </a:lnTo>
                <a:lnTo>
                  <a:pt x="10632504" y="6857999"/>
                </a:lnTo>
                <a:lnTo>
                  <a:pt x="7110269" y="6857999"/>
                </a:lnTo>
                <a:lnTo>
                  <a:pt x="711026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27257A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FA33CC-AA75-4355-0A4E-6996125098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495870" y="251460"/>
            <a:ext cx="1283569" cy="1038859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137CAE3D-CA63-D669-E471-86E0A20FA7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100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49945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D38C33-E170-75A9-F1A9-4EAA53F189FF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25BDE7BA-38F1-4099-86B5-E91BF13DE3B7}" type="datetime1">
              <a:rPr lang="fr-FR"/>
              <a:pPr lvl="0"/>
              <a:t>03/04/2024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438A54-D396-F796-3229-3DAD7FAA195E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30317B-7E6D-900A-C9E6-BE8A07D2E8A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3E9233D5-129D-45E9-99E0-9104115640A4}" type="slidenum"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934032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515657-3D70-AE19-7B31-53596B6BC6B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9784" y="457200"/>
            <a:ext cx="3932240" cy="1600200"/>
          </a:xfrm>
        </p:spPr>
        <p:txBody>
          <a:bodyPr anchor="b"/>
          <a:lstStyle>
            <a:lvl1pPr>
              <a:defRPr sz="3200"/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4F37C3-BEB7-6FDF-D10F-785F22997ED5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5183184" y="987423"/>
            <a:ext cx="6172200" cy="487362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7F26CB-0DD2-960B-DD00-A4C98EC8DE21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839784" y="2057400"/>
            <a:ext cx="3932240" cy="381158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CF051B0-3B19-3844-7291-35DC432FEE8A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A40FBCD5-0E0D-4765-BF19-41EBB5D12BA1}" type="datetime1">
              <a:rPr lang="fr-FR"/>
              <a:pPr lvl="0"/>
              <a:t>03/04/2024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E869CD-158E-0412-4982-DEC80A781270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B9E4BF5-6ADA-2EE0-0527-8E39AB23318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69F96069-40F0-4175-9D2F-CFAFB399227A}" type="slidenum"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3411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BEA23B-62C8-AD80-E40E-64226AABB23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9784" y="457200"/>
            <a:ext cx="3932240" cy="1600200"/>
          </a:xfrm>
        </p:spPr>
        <p:txBody>
          <a:bodyPr anchor="b"/>
          <a:lstStyle>
            <a:lvl1pPr>
              <a:defRPr sz="3200"/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2695397-708F-5C45-42DE-0DAA2CC4FD7E}"/>
              </a:ext>
            </a:extLst>
          </p:cNvPr>
          <p:cNvSpPr txBox="1">
            <a:spLocks noGrp="1"/>
          </p:cNvSpPr>
          <p:nvPr>
            <p:ph type="pic" idx="1"/>
          </p:nvPr>
        </p:nvSpPr>
        <p:spPr>
          <a:xfrm>
            <a:off x="5183184" y="987423"/>
            <a:ext cx="6172200" cy="4873623"/>
          </a:xfrm>
        </p:spPr>
        <p:txBody>
          <a:bodyPr/>
          <a:lstStyle>
            <a:lvl1pPr marL="0" indent="0">
              <a:buNone/>
              <a:defRPr lang="fr-FR" sz="3200"/>
            </a:lvl1pPr>
          </a:lstStyle>
          <a:p>
            <a:pPr lvl="0"/>
            <a:endParaRPr lang="fr-F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55EF0A-364F-5C50-A56F-473B4DDD105D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839784" y="2057400"/>
            <a:ext cx="3932240" cy="381158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72508E-8763-0595-60D1-11A0B4CD51C3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378B8188-B7C1-4B7B-A4BF-8ADEC66C3B9F}" type="datetime1">
              <a:rPr lang="fr-FR"/>
              <a:pPr lvl="0"/>
              <a:t>03/04/2024</a:t>
            </a:fld>
            <a:endParaRPr lang="fr-F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2CC8A5-8CC0-6180-D0DE-8BFD166B2ABB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BBB514-6100-C118-1A6B-3465ECA00437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2E15CD68-BAE4-4A6B-857F-55D2CDCF4693}" type="slidenum"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3184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slideLayout" Target="../slideLayouts/slideLayout40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tags" Target="../tags/tag6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5DA89CF-4562-41D8-C3A5-3FA6A66E793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8203" y="365129"/>
            <a:ext cx="10515600" cy="132555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65BEFE-F212-C543-E5AF-78892FBA43B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838203" y="1825627"/>
            <a:ext cx="10515600" cy="4351336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2D1D21-8AA5-EB1D-EAC9-CB67CC80A36B}"/>
              </a:ext>
            </a:extLst>
          </p:cNvPr>
          <p:cNvSpPr txBox="1">
            <a:spLocks noGrp="1"/>
          </p:cNvSpPr>
          <p:nvPr>
            <p:ph type="dt" sz="half" idx="2"/>
          </p:nvPr>
        </p:nvSpPr>
        <p:spPr>
          <a:xfrm>
            <a:off x="838203" y="6356351"/>
            <a:ext cx="2743200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fr-FR" sz="1200" b="0" i="0" u="none" strike="noStrike" kern="1200" cap="none" spc="0" baseline="0">
                <a:solidFill>
                  <a:srgbClr val="767676"/>
                </a:solidFill>
                <a:uFillTx/>
                <a:latin typeface="Aptos"/>
              </a:defRPr>
            </a:lvl1pPr>
          </a:lstStyle>
          <a:p>
            <a:pPr lvl="0"/>
            <a:fld id="{BB7E0EAD-93F0-4ED1-80C6-485442D4EF46}" type="datetime1">
              <a:rPr lang="fr-FR"/>
              <a:pPr lvl="0"/>
              <a:t>03/04/2024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254E7F-25C3-E837-8DD6-96816398FDF1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4038603" y="6356351"/>
            <a:ext cx="4114800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1" compatLnSpc="1">
            <a:noAutofit/>
          </a:bodyPr>
          <a:lstStyle>
            <a:lvl1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fr-FR" sz="1200" b="0" i="0" u="none" strike="noStrike" kern="1200" cap="none" spc="0" baseline="0">
                <a:solidFill>
                  <a:srgbClr val="767676"/>
                </a:solidFill>
                <a:uFillTx/>
                <a:latin typeface="Aptos"/>
              </a:defRPr>
            </a:lvl1pPr>
          </a:lstStyle>
          <a:p>
            <a:pPr lvl="0"/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700EC7-A588-C9FF-32B1-B0FEC2397892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610603" y="6356351"/>
            <a:ext cx="2743200" cy="36512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>
            <a:lvl1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fr-FR" sz="1200" b="0" i="0" u="none" strike="noStrike" kern="1200" cap="none" spc="0" baseline="0">
                <a:solidFill>
                  <a:srgbClr val="767676"/>
                </a:solidFill>
                <a:uFillTx/>
                <a:latin typeface="Aptos"/>
              </a:defRPr>
            </a:lvl1pPr>
          </a:lstStyle>
          <a:p>
            <a:pPr lvl="0"/>
            <a:fld id="{6CA83F64-EBD8-478D-B36A-F7CC000C709B}" type="slidenum"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15" r:id="rId12"/>
    <p:sldLayoutId id="2147483716" r:id="rId13"/>
    <p:sldLayoutId id="2147483717" r:id="rId14"/>
  </p:sldLayoutIdLst>
  <p:txStyles>
    <p:titleStyle>
      <a:lvl1pPr marL="0" marR="0" lvl="0" indent="0" algn="l" defTabSz="914400" rtl="0" fontAlgn="auto" hangingPunct="1">
        <a:lnSpc>
          <a:spcPct val="90000"/>
        </a:lnSpc>
        <a:spcBef>
          <a:spcPts val="0"/>
        </a:spcBef>
        <a:spcAft>
          <a:spcPts val="0"/>
        </a:spcAft>
        <a:buNone/>
        <a:tabLst/>
        <a:defRPr lang="en-US" sz="4400" b="0" i="0" u="none" strike="noStrike" kern="1200" cap="none" spc="0" baseline="0">
          <a:solidFill>
            <a:srgbClr val="000000"/>
          </a:solidFill>
          <a:uFillTx/>
          <a:latin typeface="Aptos Display"/>
        </a:defRPr>
      </a:lvl1pPr>
    </p:titleStyle>
    <p:bodyStyle>
      <a:lvl1pPr marL="228600" marR="0" lvl="0" indent="-228600" algn="l" defTabSz="914400" rtl="0" fontAlgn="auto" hangingPunct="1">
        <a:lnSpc>
          <a:spcPct val="90000"/>
        </a:lnSpc>
        <a:spcBef>
          <a:spcPts val="1000"/>
        </a:spcBef>
        <a:spcAft>
          <a:spcPts val="0"/>
        </a:spcAft>
        <a:buSzPct val="100000"/>
        <a:buFont typeface="Arial" pitchFamily="34"/>
        <a:buChar char="•"/>
        <a:tabLst/>
        <a:defRPr lang="en-US" sz="2800" b="0" i="0" u="none" strike="noStrike" kern="1200" cap="none" spc="0" baseline="0">
          <a:solidFill>
            <a:srgbClr val="000000"/>
          </a:solidFill>
          <a:uFillTx/>
          <a:latin typeface="Aptos"/>
        </a:defRPr>
      </a:lvl1pPr>
      <a:lvl2pPr marL="685800" marR="0" lvl="1" indent="-228600" algn="l" defTabSz="914400" rtl="0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en-US" sz="2400" b="0" i="0" u="none" strike="noStrike" kern="1200" cap="none" spc="0" baseline="0">
          <a:solidFill>
            <a:srgbClr val="000000"/>
          </a:solidFill>
          <a:uFillTx/>
          <a:latin typeface="Aptos"/>
        </a:defRPr>
      </a:lvl2pPr>
      <a:lvl3pPr marL="1143000" marR="0" lvl="2" indent="-228600" algn="l" defTabSz="914400" rtl="0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en-US" sz="2000" b="0" i="0" u="none" strike="noStrike" kern="1200" cap="none" spc="0" baseline="0">
          <a:solidFill>
            <a:srgbClr val="000000"/>
          </a:solidFill>
          <a:uFillTx/>
          <a:latin typeface="Aptos"/>
        </a:defRPr>
      </a:lvl3pPr>
      <a:lvl4pPr marL="1600200" marR="0" lvl="3" indent="-228600" algn="l" defTabSz="914400" rtl="0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en-US" sz="1800" b="0" i="0" u="none" strike="noStrike" kern="1200" cap="none" spc="0" baseline="0">
          <a:solidFill>
            <a:srgbClr val="000000"/>
          </a:solidFill>
          <a:uFillTx/>
          <a:latin typeface="Aptos"/>
        </a:defRPr>
      </a:lvl4pPr>
      <a:lvl5pPr marL="2057400" marR="0" lvl="4" indent="-228600" algn="l" defTabSz="914400" rtl="0" fontAlgn="auto" hangingPunct="1">
        <a:lnSpc>
          <a:spcPct val="90000"/>
        </a:lnSpc>
        <a:spcBef>
          <a:spcPts val="500"/>
        </a:spcBef>
        <a:spcAft>
          <a:spcPts val="0"/>
        </a:spcAft>
        <a:buSzPct val="100000"/>
        <a:buFont typeface="Arial" pitchFamily="34"/>
        <a:buChar char="•"/>
        <a:tabLst/>
        <a:defRPr lang="en-US" sz="1800" b="0" i="0" u="none" strike="noStrike" kern="1200" cap="none" spc="0" baseline="0">
          <a:solidFill>
            <a:srgbClr val="000000"/>
          </a:solidFill>
          <a:uFillTx/>
          <a:latin typeface="Apto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AAD922-EA03-4217-A070-4B0BFD269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10944225" cy="1080120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CD6E9F-29AC-4892-A3B9-571A571A8B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1628775"/>
            <a:ext cx="10932794" cy="4608513"/>
          </a:xfrm>
          <a:prstGeom prst="rect">
            <a:avLst/>
          </a:prstGeom>
        </p:spPr>
        <p:txBody>
          <a:bodyPr vert="horz" lIns="0" tIns="0" rIns="9144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DC1630-F4E1-49AD-80CC-27089223D1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28"/>
    </p:custDataLst>
    <p:extLst>
      <p:ext uri="{BB962C8B-B14F-4D97-AF65-F5344CB8AC3E}">
        <p14:creationId xmlns:p14="http://schemas.microsoft.com/office/powerpoint/2010/main" val="3300925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76213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52438" indent="-1873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717550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287">
          <p15:clr>
            <a:srgbClr val="F26B43"/>
          </p15:clr>
        </p15:guide>
        <p15:guide id="5" orient="horz" pos="210">
          <p15:clr>
            <a:srgbClr val="F26B43"/>
          </p15:clr>
        </p15:guide>
        <p15:guide id="6" orient="horz" pos="3929">
          <p15:clr>
            <a:srgbClr val="F26B43"/>
          </p15:clr>
        </p15:guide>
        <p15:guide id="7" pos="39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AAD922-EA03-4217-A070-4B0BFD269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10944225" cy="1080120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CD6E9F-29AC-4892-A3B9-571A571A8B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1628775"/>
            <a:ext cx="10932794" cy="4608513"/>
          </a:xfrm>
          <a:prstGeom prst="rect">
            <a:avLst/>
          </a:prstGeom>
        </p:spPr>
        <p:txBody>
          <a:bodyPr vert="horz" lIns="0" tIns="0" rIns="9144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DC1630-F4E1-49AD-80CC-27089223D1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29"/>
    </p:custDataLst>
    <p:extLst>
      <p:ext uri="{BB962C8B-B14F-4D97-AF65-F5344CB8AC3E}">
        <p14:creationId xmlns:p14="http://schemas.microsoft.com/office/powerpoint/2010/main" val="2160659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709" r:id="rId22"/>
    <p:sldLayoutId id="2147483710" r:id="rId23"/>
    <p:sldLayoutId id="2147483711" r:id="rId24"/>
    <p:sldLayoutId id="2147483712" r:id="rId25"/>
    <p:sldLayoutId id="2147483713" r:id="rId26"/>
    <p:sldLayoutId id="2147483714" r:id="rId2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76213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52438" indent="-1873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717550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287">
          <p15:clr>
            <a:srgbClr val="F26B43"/>
          </p15:clr>
        </p15:guide>
        <p15:guide id="5" orient="horz" pos="210">
          <p15:clr>
            <a:srgbClr val="F26B43"/>
          </p15:clr>
        </p15:guide>
        <p15:guide id="6" orient="horz" pos="3929">
          <p15:clr>
            <a:srgbClr val="F26B43"/>
          </p15:clr>
        </p15:guide>
        <p15:guide id="7" pos="3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view.officeapps.live.com/op/view.aspx?src=https%3A%2F%2Fwww.etf.europa.eu%2Fsites%2Fdefault%2Ffiles%2F2023-10%2FConcept%2520note_ideation%2520exercise_multicountry%2520qualifications_RU.docx&amp;wdOrigin=BROWSELINK" TargetMode="External"/><Relationship Id="rId5" Type="http://schemas.openxmlformats.org/officeDocument/2006/relationships/hyperlink" Target="https://view.officeapps.live.com/op/view.aspx?src=https%3A%2F%2Fwww.etf.europa.eu%2Fsites%2Fdefault%2Ffiles%2F2023-10%2FConcept%2520note_ideation%2520exercise_multicountry%2520qualifications_EN.docx&amp;wdOrigin=BROWSELINK" TargetMode="External"/><Relationship Id="rId4" Type="http://schemas.openxmlformats.org/officeDocument/2006/relationships/image" Target="../media/image1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oogle.com/document/d/1DdRNa_HT0bh3zGCWur5rniROjoi4KfrC/edit?usp=drive_link&amp;ouid=101633982089023006280&amp;rtpof=true&amp;sd=tru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hyperlink" Target="https://docs.google.com/document/d/1DdRNa_HT0bh3zGCWur5rniROjoi4KfrC/edit?usp=drive_link&amp;ouid=101633982089023006280&amp;rtpof=true&amp;sd=true" TargetMode="Externa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eqet.erisee.org/occupational-standards/" TargetMode="External"/><Relationship Id="rId2" Type="http://schemas.openxmlformats.org/officeDocument/2006/relationships/hyperlink" Target="https://www.etf.europa.eu/sites/default/files/m/AF54BEA1CFC06779C12580A5004C09BA_Qualifications%20for%20the%20Mediterranean_EN.pdf" TargetMode="Externa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DCF9318-03C9-9939-1C5A-E9BA7B0141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9754" y="1429911"/>
            <a:ext cx="11652269" cy="3998178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GB" u="sng" dirty="0"/>
              <a:t>3 </a:t>
            </a:r>
            <a:r>
              <a:rPr lang="ru-RU" u="sng" dirty="0"/>
              <a:t>апреля</a:t>
            </a:r>
          </a:p>
          <a:p>
            <a:r>
              <a:rPr lang="ru-RU" dirty="0"/>
              <a:t>Исследование потенциала регионального сотрудничества стран Центральной Азии в области навыков и квалификаций – выводы исследования и предложение сценариев сотрудничества. Отзывы участников.</a:t>
            </a:r>
          </a:p>
          <a:p>
            <a:r>
              <a:rPr lang="ru-RU" dirty="0"/>
              <a:t>Глоссарий терминов, картирование национальных систем квалификаций стран Центральной Азии – результаты, выводы, использование</a:t>
            </a:r>
          </a:p>
          <a:p>
            <a:pPr marL="0" indent="0">
              <a:buNone/>
            </a:pPr>
            <a:r>
              <a:rPr lang="ru-RU" u="sng" dirty="0"/>
              <a:t>4 апреля</a:t>
            </a:r>
          </a:p>
          <a:p>
            <a:pPr marL="0" indent="0">
              <a:buNone/>
            </a:pPr>
            <a:r>
              <a:rPr lang="ru-RU" dirty="0"/>
              <a:t>Подготовка к пилоту межстрановых квалификаций – выбор профессий для разработки общих профессиональных стандартов. Обсуждение решающих факторов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E8D51DC-A63C-A2D1-2655-7546398A90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E50567B-B736-865C-8F10-2B6EE88007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394" y="422494"/>
            <a:ext cx="10713953" cy="832644"/>
          </a:xfrm>
        </p:spPr>
        <p:txBody>
          <a:bodyPr>
            <a:normAutofit fontScale="90000"/>
          </a:bodyPr>
          <a:lstStyle/>
          <a:p>
            <a:r>
              <a:rPr lang="ru-RU" dirty="0"/>
              <a:t>Совместная работа над квалификациями в Центральной Азии –</a:t>
            </a:r>
            <a:r>
              <a:rPr lang="en-GB" dirty="0"/>
              <a:t> </a:t>
            </a:r>
            <a:r>
              <a:rPr lang="ru-RU" dirty="0"/>
              <a:t>план встречи 3 </a:t>
            </a:r>
            <a:r>
              <a:rPr lang="en-GB" dirty="0"/>
              <a:t>&amp;</a:t>
            </a:r>
            <a:r>
              <a:rPr lang="ru-RU" dirty="0"/>
              <a:t> 4 апреля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50252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Two people looking at a computer&#10;&#10;Description automatically generated with medium confidence">
            <a:extLst>
              <a:ext uri="{FF2B5EF4-FFF2-40B4-BE49-F238E27FC236}">
                <a16:creationId xmlns:a16="http://schemas.microsoft.com/office/drawing/2014/main" id="{D291C693-79E4-36D8-956A-9687F41F635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1" name="Picture Placeholder 10" descr="Two people looking at a computer&#10;&#10;Description automatically generated with medium confidence">
            <a:extLst>
              <a:ext uri="{FF2B5EF4-FFF2-40B4-BE49-F238E27FC236}">
                <a16:creationId xmlns:a16="http://schemas.microsoft.com/office/drawing/2014/main" id="{A0508A8D-C4AD-E546-C473-7B4A458AA32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90515" y="3410412"/>
            <a:ext cx="2470669" cy="2284994"/>
          </a:xfrm>
        </p:spPr>
      </p:pic>
      <p:pic>
        <p:nvPicPr>
          <p:cNvPr id="13" name="Picture Placeholder 12" descr="A picture containing fabric&#10;&#10;Description automatically generated">
            <a:extLst>
              <a:ext uri="{FF2B5EF4-FFF2-40B4-BE49-F238E27FC236}">
                <a16:creationId xmlns:a16="http://schemas.microsoft.com/office/drawing/2014/main" id="{2BE2ED2C-54BC-D44B-0B6C-0A7B61DCFEA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06C0A742-FB64-703A-CD5E-178AE34CFB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59505" y="1556791"/>
            <a:ext cx="8308609" cy="4680497"/>
          </a:xfrm>
        </p:spPr>
        <p:txBody>
          <a:bodyPr>
            <a:normAutofit fontScale="92500" lnSpcReduction="20000"/>
          </a:bodyPr>
          <a:lstStyle/>
          <a:p>
            <a:pPr lvl="0"/>
            <a:r>
              <a:rPr lang="ru-RU" dirty="0"/>
              <a:t>Межстрановая квалификация - соглашение разных стран о совместной разработке квалификации, которая актуальна для образования и рынка труда этих стран и, следовательно, может использоваться ими как в краткосрочной, так и в долгосрочной перспективе </a:t>
            </a:r>
            <a:r>
              <a:rPr lang="ru-RU" sz="1900" i="1" dirty="0"/>
              <a:t>(концептуальная нота </a:t>
            </a:r>
            <a:r>
              <a:rPr lang="ru-RU" sz="1900" i="1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на английском языке </a:t>
            </a:r>
            <a:r>
              <a:rPr lang="ru-RU" sz="1900" i="1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900" i="1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на русском языке</a:t>
            </a:r>
            <a:r>
              <a:rPr lang="ru-RU" sz="1900" i="1" dirty="0"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  <a:r>
              <a:rPr lang="ru-RU" sz="1900" i="1" dirty="0"/>
              <a:t>,</a:t>
            </a:r>
          </a:p>
          <a:p>
            <a:pPr lvl="0"/>
            <a:r>
              <a:rPr lang="ru-RU" dirty="0"/>
              <a:t>Уже проведенные консультации выявили предпочтения по отраслям и конечным «продуктам» пилота: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ru-RU" dirty="0"/>
              <a:t>туризм, строительство, транспорт и логистика, агропродовольственная отрасль, управление жилищно-коммунальным хозяйством, текстильная отрасль, электронная коммерция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ru-RU" dirty="0"/>
              <a:t>Межстрановые профессиональные стандарты </a:t>
            </a:r>
          </a:p>
          <a:p>
            <a:pPr lvl="0">
              <a:buFont typeface="Wingdings" panose="05000000000000000000" pitchFamily="2" charset="2"/>
              <a:buChar char="ü"/>
            </a:pPr>
            <a:endParaRPr lang="en-US" dirty="0"/>
          </a:p>
          <a:p>
            <a:pPr lvl="0"/>
            <a:endParaRPr lang="ru-RU" dirty="0"/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3277C818-AF4E-38A9-E1FB-B85F128D4E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6436C90-5142-0B24-9287-61DA6F2BC1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971889"/>
            <a:ext cx="2985826" cy="5080568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132FD1C4-75ED-2408-25E0-9E60AC6B69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E0AC6CE-B1BB-33DF-704A-0BAF6BEC0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6098" y="332657"/>
            <a:ext cx="7320584" cy="756691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M</a:t>
            </a:r>
            <a:r>
              <a:rPr lang="ru-RU" b="1" dirty="0"/>
              <a:t>ежстрановые квалификации: подготовка к пилоту</a:t>
            </a:r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FBDB1EA-135C-9920-3CFE-49E67B75F879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4898" y="2102437"/>
            <a:ext cx="2909406" cy="1644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437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7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7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grpId="0" nodeType="withEffect" nodePh="1">
                                  <p:stCondLst>
                                    <p:cond delay="25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8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8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decel="10000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5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0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build="p" animBg="1"/>
      <p:bldP spid="28" grpId="0" uiExpand="1" build="p" animBg="1"/>
      <p:bldP spid="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 name="Slid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6">
            <a:extLst>
              <a:ext uri="{FF2B5EF4-FFF2-40B4-BE49-F238E27FC236}">
                <a16:creationId xmlns:a16="http://schemas.microsoft.com/office/drawing/2014/main" id="{9B10EE8B-628E-2FDB-5C85-21F2278FF1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85426" y="2827087"/>
            <a:ext cx="5495105" cy="4054769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3" name="Oval 26">
            <a:extLst>
              <a:ext uri="{FF2B5EF4-FFF2-40B4-BE49-F238E27FC236}">
                <a16:creationId xmlns:a16="http://schemas.microsoft.com/office/drawing/2014/main" id="{E0BB2C26-CB06-1AC8-19B9-0FC4C2ED92C6}"/>
              </a:ext>
            </a:extLst>
          </p:cNvPr>
          <p:cNvSpPr/>
          <p:nvPr/>
        </p:nvSpPr>
        <p:spPr>
          <a:xfrm>
            <a:off x="-2023654" y="-529883"/>
            <a:ext cx="8881128" cy="8020879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F2CFEE"/>
          </a:solidFill>
          <a:ln w="19046" cap="flat">
            <a:solidFill>
              <a:srgbClr val="042433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fr-FR" sz="1800" b="0" i="0" u="none" strike="noStrike" kern="1200" cap="none" spc="0" baseline="0">
              <a:solidFill>
                <a:srgbClr val="FFFFFF"/>
              </a:solidFill>
              <a:uFillTx/>
              <a:latin typeface="Aptos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AC0B829-98BB-FAC7-AB4F-725189BCF0FA}"/>
              </a:ext>
            </a:extLst>
          </p:cNvPr>
          <p:cNvSpPr/>
          <p:nvPr/>
        </p:nvSpPr>
        <p:spPr>
          <a:xfrm>
            <a:off x="534613" y="1067808"/>
            <a:ext cx="1866903" cy="800968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3600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E59EDD"/>
          </a:solidFill>
          <a:ln w="19046" cap="flat">
            <a:solidFill>
              <a:srgbClr val="042433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1800" b="1" i="0" u="none" strike="noStrike" kern="0" cap="none" spc="0" baseline="0">
                <a:solidFill>
                  <a:srgbClr val="000000"/>
                </a:solidFill>
                <a:uFillTx/>
                <a:latin typeface="Calibri" pitchFamily="34"/>
              </a:rPr>
              <a:t>Строительство</a:t>
            </a:r>
            <a:endParaRPr lang="fr-FR" sz="1800" b="1" i="0" u="none" strike="noStrike" kern="1200" cap="none" spc="0" baseline="0">
              <a:solidFill>
                <a:srgbClr val="FFFFFF"/>
              </a:solidFill>
              <a:uFillTx/>
              <a:latin typeface="Apto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6C6508E-2121-8AE5-58E5-04B689AB588E}"/>
              </a:ext>
            </a:extLst>
          </p:cNvPr>
          <p:cNvSpPr/>
          <p:nvPr/>
        </p:nvSpPr>
        <p:spPr>
          <a:xfrm>
            <a:off x="902064" y="1973357"/>
            <a:ext cx="1997360" cy="1039160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3600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B4E5A2"/>
          </a:solidFill>
          <a:ln w="19046" cap="flat">
            <a:solidFill>
              <a:srgbClr val="042433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1800" b="0" i="0" u="none" strike="noStrike" kern="0" cap="none" spc="0" baseline="0">
                <a:solidFill>
                  <a:srgbClr val="000000"/>
                </a:solidFill>
                <a:uFillTx/>
                <a:latin typeface="Calibri" pitchFamily="34"/>
              </a:rPr>
              <a:t>Управление жилищно-коммунальным хозяйством</a:t>
            </a:r>
            <a:endParaRPr lang="fr-FR" sz="1800" b="0" i="0" u="none" strike="noStrike" kern="1200" cap="none" spc="0" baseline="0">
              <a:solidFill>
                <a:srgbClr val="FFFFFF"/>
              </a:solidFill>
              <a:uFillTx/>
              <a:latin typeface="Apto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0BA95BF-C176-8299-F3A1-FBD4DCF01B1E}"/>
              </a:ext>
            </a:extLst>
          </p:cNvPr>
          <p:cNvSpPr/>
          <p:nvPr/>
        </p:nvSpPr>
        <p:spPr>
          <a:xfrm>
            <a:off x="1298438" y="3120627"/>
            <a:ext cx="1866903" cy="719861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3600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747474"/>
          </a:solidFill>
          <a:ln w="19046" cap="flat">
            <a:solidFill>
              <a:srgbClr val="042433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1800" b="1" i="0" u="none" strike="noStrike" kern="0" cap="none" spc="0" baseline="0">
                <a:solidFill>
                  <a:srgbClr val="FFFFFF"/>
                </a:solidFill>
                <a:uFillTx/>
                <a:latin typeface="Calibri" pitchFamily="34"/>
              </a:rPr>
              <a:t>Транспорт и логистика</a:t>
            </a:r>
            <a:endParaRPr lang="fr-FR" sz="1800" b="1" i="0" u="none" strike="noStrike" kern="1200" cap="none" spc="0" baseline="0">
              <a:solidFill>
                <a:srgbClr val="FFFFFF"/>
              </a:solidFill>
              <a:uFillTx/>
              <a:latin typeface="Apto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5365448-77BA-5B39-2DF1-E0A1EB6CC699}"/>
              </a:ext>
            </a:extLst>
          </p:cNvPr>
          <p:cNvSpPr/>
          <p:nvPr/>
        </p:nvSpPr>
        <p:spPr>
          <a:xfrm>
            <a:off x="145535" y="3906499"/>
            <a:ext cx="2645066" cy="645392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3600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47D45A"/>
          </a:solidFill>
          <a:ln w="19046" cap="flat">
            <a:solidFill>
              <a:srgbClr val="042433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1800" b="0" i="0" u="none" strike="noStrike" kern="0" cap="none" spc="0" baseline="0">
                <a:solidFill>
                  <a:srgbClr val="FFFFFF"/>
                </a:solidFill>
                <a:uFillTx/>
                <a:latin typeface="Calibri" pitchFamily="34"/>
              </a:rPr>
              <a:t>Агропродовольственная отрасль</a:t>
            </a:r>
            <a:endParaRPr lang="fr-FR" sz="1800" b="0" i="0" u="none" strike="noStrike" kern="1200" cap="none" spc="0" baseline="0">
              <a:solidFill>
                <a:srgbClr val="FFFFFF"/>
              </a:solidFill>
              <a:uFillTx/>
              <a:latin typeface="Apto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ECACF56-09E6-E6FB-1170-74DB36552404}"/>
              </a:ext>
            </a:extLst>
          </p:cNvPr>
          <p:cNvSpPr/>
          <p:nvPr/>
        </p:nvSpPr>
        <p:spPr>
          <a:xfrm>
            <a:off x="1145871" y="4671541"/>
            <a:ext cx="1866903" cy="645392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3600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FF9966"/>
          </a:solidFill>
          <a:ln w="19046" cap="flat">
            <a:solidFill>
              <a:srgbClr val="042433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800" b="0" i="0" u="none" strike="noStrike" kern="0" cap="none" spc="0" baseline="0">
                <a:solidFill>
                  <a:srgbClr val="000000"/>
                </a:solidFill>
                <a:uFillTx/>
                <a:latin typeface="Calibri" pitchFamily="34"/>
              </a:rPr>
              <a:t>T</a:t>
            </a:r>
            <a:r>
              <a:rPr lang="ru-RU" sz="1800" b="0" i="0" u="none" strike="noStrike" kern="0" cap="none" spc="0" baseline="0">
                <a:solidFill>
                  <a:srgbClr val="000000"/>
                </a:solidFill>
                <a:uFillTx/>
                <a:latin typeface="Calibri" pitchFamily="34"/>
              </a:rPr>
              <a:t>екстильная отрасль</a:t>
            </a:r>
            <a:endParaRPr lang="fr-FR" sz="1800" b="0" i="0" u="none" strike="noStrike" kern="1200" cap="none" spc="0" baseline="0">
              <a:solidFill>
                <a:srgbClr val="FFFFFF"/>
              </a:solidFill>
              <a:uFillTx/>
              <a:latin typeface="Aptos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34699C1-AD4E-8BE5-4FC9-49C3AF5042DC}"/>
              </a:ext>
            </a:extLst>
          </p:cNvPr>
          <p:cNvSpPr/>
          <p:nvPr/>
        </p:nvSpPr>
        <p:spPr>
          <a:xfrm>
            <a:off x="103839" y="162260"/>
            <a:ext cx="1866903" cy="800968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3600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83CBEB"/>
          </a:solidFill>
          <a:ln w="19046" cap="flat">
            <a:solidFill>
              <a:srgbClr val="042433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1800" b="1" i="0" u="none" strike="noStrike" kern="0" cap="none" spc="0" baseline="0">
                <a:solidFill>
                  <a:srgbClr val="000000"/>
                </a:solidFill>
                <a:uFillTx/>
                <a:latin typeface="Calibri" pitchFamily="34"/>
              </a:rPr>
              <a:t>Туризм</a:t>
            </a:r>
            <a:endParaRPr lang="fr-FR" sz="1800" b="1" i="0" u="none" strike="noStrike" kern="1200" cap="none" spc="0" baseline="0">
              <a:solidFill>
                <a:srgbClr val="FFFFFF"/>
              </a:solidFill>
              <a:uFillTx/>
              <a:latin typeface="Apto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9A3B015-E117-6309-CC1C-8BCDEAC96965}"/>
              </a:ext>
            </a:extLst>
          </p:cNvPr>
          <p:cNvSpPr/>
          <p:nvPr/>
        </p:nvSpPr>
        <p:spPr>
          <a:xfrm>
            <a:off x="3405746" y="470541"/>
            <a:ext cx="1214579" cy="747275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156082"/>
          </a:solidFill>
          <a:ln w="19046" cap="flat">
            <a:solidFill>
              <a:srgbClr val="042433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1800" b="0" i="0" u="none" strike="noStrike" kern="0" cap="none" spc="0" baseline="0">
                <a:solidFill>
                  <a:srgbClr val="FFFFFF"/>
                </a:solidFill>
                <a:uFillTx/>
                <a:latin typeface="Calibri" pitchFamily="34"/>
              </a:rPr>
              <a:t>Гид</a:t>
            </a:r>
            <a:endParaRPr lang="fr-FR" sz="1800" b="0" i="0" u="none" strike="noStrike" kern="1200" cap="none" spc="0" baseline="0">
              <a:solidFill>
                <a:srgbClr val="FFFFFF"/>
              </a:solidFill>
              <a:uFillTx/>
              <a:latin typeface="Aptos"/>
            </a:endParaRPr>
          </a:p>
        </p:txBody>
      </p:sp>
      <p:sp>
        <p:nvSpPr>
          <p:cNvPr id="11" name="Rectangle: Rounded Corners 11">
            <a:extLst>
              <a:ext uri="{FF2B5EF4-FFF2-40B4-BE49-F238E27FC236}">
                <a16:creationId xmlns:a16="http://schemas.microsoft.com/office/drawing/2014/main" id="{1C748110-91B1-60D9-1A23-36BE308F95AF}"/>
              </a:ext>
            </a:extLst>
          </p:cNvPr>
          <p:cNvSpPr/>
          <p:nvPr/>
        </p:nvSpPr>
        <p:spPr>
          <a:xfrm>
            <a:off x="145535" y="5445873"/>
            <a:ext cx="1866903" cy="645392"/>
          </a:xfrm>
          <a:custGeom>
            <a:avLst/>
            <a:gdLst>
              <a:gd name="f0" fmla="val 10800000"/>
              <a:gd name="f1" fmla="val 5400000"/>
              <a:gd name="f2" fmla="val 16200000"/>
              <a:gd name="f3" fmla="val w"/>
              <a:gd name="f4" fmla="val h"/>
              <a:gd name="f5" fmla="val ss"/>
              <a:gd name="f6" fmla="val 0"/>
              <a:gd name="f7" fmla="*/ 5419351 1 1725033"/>
              <a:gd name="f8" fmla="val 45"/>
              <a:gd name="f9" fmla="val 3600"/>
              <a:gd name="f10" fmla="abs f3"/>
              <a:gd name="f11" fmla="abs f4"/>
              <a:gd name="f12" fmla="abs f5"/>
              <a:gd name="f13" fmla="*/ f7 1 180"/>
              <a:gd name="f14" fmla="+- 0 0 f1"/>
              <a:gd name="f15" fmla="+- f6 f9 0"/>
              <a:gd name="f16" fmla="?: f10 f3 1"/>
              <a:gd name="f17" fmla="?: f11 f4 1"/>
              <a:gd name="f18" fmla="?: f12 f5 1"/>
              <a:gd name="f19" fmla="*/ f8 f13 1"/>
              <a:gd name="f20" fmla="+- f6 0 f15"/>
              <a:gd name="f21" fmla="+- f15 0 f6"/>
              <a:gd name="f22" fmla="*/ f16 1 21600"/>
              <a:gd name="f23" fmla="*/ f17 1 21600"/>
              <a:gd name="f24" fmla="*/ 21600 f16 1"/>
              <a:gd name="f25" fmla="*/ 21600 f17 1"/>
              <a:gd name="f26" fmla="+- 0 0 f19"/>
              <a:gd name="f27" fmla="abs f20"/>
              <a:gd name="f28" fmla="abs f21"/>
              <a:gd name="f29" fmla="?: f20 f14 f1"/>
              <a:gd name="f30" fmla="?: f20 f1 f14"/>
              <a:gd name="f31" fmla="?: f20 f2 f1"/>
              <a:gd name="f32" fmla="?: f20 f1 f2"/>
              <a:gd name="f33" fmla="?: f21 f14 f1"/>
              <a:gd name="f34" fmla="?: f21 f1 f14"/>
              <a:gd name="f35" fmla="?: f20 0 f0"/>
              <a:gd name="f36" fmla="?: f20 f0 0"/>
              <a:gd name="f37" fmla="min f23 f22"/>
              <a:gd name="f38" fmla="*/ f24 1 f18"/>
              <a:gd name="f39" fmla="*/ f25 1 f18"/>
              <a:gd name="f40" fmla="*/ f26 f0 1"/>
              <a:gd name="f41" fmla="?: f20 f32 f31"/>
              <a:gd name="f42" fmla="?: f20 f31 f32"/>
              <a:gd name="f43" fmla="?: f21 f30 f29"/>
              <a:gd name="f44" fmla="val f38"/>
              <a:gd name="f45" fmla="val f39"/>
              <a:gd name="f46" fmla="*/ f40 1 f7"/>
              <a:gd name="f47" fmla="?: f21 f42 f41"/>
              <a:gd name="f48" fmla="*/ f15 f37 1"/>
              <a:gd name="f49" fmla="*/ f6 f37 1"/>
              <a:gd name="f50" fmla="*/ f27 f37 1"/>
              <a:gd name="f51" fmla="*/ f28 f37 1"/>
              <a:gd name="f52" fmla="+- f45 0 f9"/>
              <a:gd name="f53" fmla="+- f44 0 f9"/>
              <a:gd name="f54" fmla="+- f46 0 f1"/>
              <a:gd name="f55" fmla="*/ f45 f37 1"/>
              <a:gd name="f56" fmla="*/ f44 f37 1"/>
              <a:gd name="f57" fmla="+- f45 0 f52"/>
              <a:gd name="f58" fmla="+- f44 0 f53"/>
              <a:gd name="f59" fmla="+- f52 0 f45"/>
              <a:gd name="f60" fmla="+- f53 0 f44"/>
              <a:gd name="f61" fmla="+- f54 f1 0"/>
              <a:gd name="f62" fmla="*/ f52 f37 1"/>
              <a:gd name="f63" fmla="*/ f53 f37 1"/>
              <a:gd name="f64" fmla="abs f57"/>
              <a:gd name="f65" fmla="?: f57 0 f0"/>
              <a:gd name="f66" fmla="?: f57 f0 0"/>
              <a:gd name="f67" fmla="?: f57 f33 f34"/>
              <a:gd name="f68" fmla="abs f58"/>
              <a:gd name="f69" fmla="abs f59"/>
              <a:gd name="f70" fmla="?: f58 f14 f1"/>
              <a:gd name="f71" fmla="?: f58 f1 f14"/>
              <a:gd name="f72" fmla="?: f58 f2 f1"/>
              <a:gd name="f73" fmla="?: f58 f1 f2"/>
              <a:gd name="f74" fmla="abs f60"/>
              <a:gd name="f75" fmla="?: f60 f14 f1"/>
              <a:gd name="f76" fmla="?: f60 f1 f14"/>
              <a:gd name="f77" fmla="?: f60 f36 f35"/>
              <a:gd name="f78" fmla="?: f60 f35 f36"/>
              <a:gd name="f79" fmla="*/ f61 f7 1"/>
              <a:gd name="f80" fmla="?: f21 f66 f65"/>
              <a:gd name="f81" fmla="?: f21 f65 f66"/>
              <a:gd name="f82" fmla="?: f58 f73 f72"/>
              <a:gd name="f83" fmla="?: f58 f72 f73"/>
              <a:gd name="f84" fmla="?: f59 f71 f70"/>
              <a:gd name="f85" fmla="?: f20 f77 f78"/>
              <a:gd name="f86" fmla="?: f20 f75 f76"/>
              <a:gd name="f87" fmla="*/ f79 1 f0"/>
              <a:gd name="f88" fmla="*/ f64 f37 1"/>
              <a:gd name="f89" fmla="*/ f68 f37 1"/>
              <a:gd name="f90" fmla="*/ f69 f37 1"/>
              <a:gd name="f91" fmla="*/ f74 f37 1"/>
              <a:gd name="f92" fmla="?: f57 f80 f81"/>
              <a:gd name="f93" fmla="?: f59 f83 f82"/>
              <a:gd name="f94" fmla="+- 0 0 f87"/>
              <a:gd name="f95" fmla="+- 0 0 f94"/>
              <a:gd name="f96" fmla="*/ f95 f0 1"/>
              <a:gd name="f97" fmla="*/ f96 1 f7"/>
              <a:gd name="f98" fmla="+- f97 0 f1"/>
              <a:gd name="f99" fmla="cos 1 f98"/>
              <a:gd name="f100" fmla="+- 0 0 f99"/>
              <a:gd name="f101" fmla="+- 0 0 f100"/>
              <a:gd name="f102" fmla="val f101"/>
              <a:gd name="f103" fmla="+- 0 0 f102"/>
              <a:gd name="f104" fmla="*/ f9 f103 1"/>
              <a:gd name="f105" fmla="*/ f104 3163 1"/>
              <a:gd name="f106" fmla="*/ f105 1 7636"/>
              <a:gd name="f107" fmla="+- f6 f106 0"/>
              <a:gd name="f108" fmla="+- f44 0 f106"/>
              <a:gd name="f109" fmla="+- f45 0 f106"/>
              <a:gd name="f110" fmla="*/ f107 f37 1"/>
              <a:gd name="f111" fmla="*/ f108 f37 1"/>
              <a:gd name="f112" fmla="*/ f109 f3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10" t="f110" r="f111" b="f112"/>
            <a:pathLst>
              <a:path>
                <a:moveTo>
                  <a:pt x="f48" y="f49"/>
                </a:moveTo>
                <a:arcTo wR="f50" hR="f51" stAng="f47" swAng="f43"/>
                <a:lnTo>
                  <a:pt x="f49" y="f62"/>
                </a:lnTo>
                <a:arcTo wR="f51" hR="f88" stAng="f92" swAng="f67"/>
                <a:lnTo>
                  <a:pt x="f63" y="f55"/>
                </a:lnTo>
                <a:arcTo wR="f89" hR="f90" stAng="f93" swAng="f84"/>
                <a:lnTo>
                  <a:pt x="f56" y="f48"/>
                </a:lnTo>
                <a:arcTo wR="f91" hR="f50" stAng="f85" swAng="f86"/>
                <a:close/>
              </a:path>
            </a:pathLst>
          </a:custGeom>
          <a:solidFill>
            <a:srgbClr val="4E95D9"/>
          </a:solidFill>
          <a:ln w="19046" cap="flat">
            <a:solidFill>
              <a:srgbClr val="042433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1800" b="0" i="0" u="none" strike="noStrike" kern="0" cap="none" spc="0" baseline="0">
                <a:solidFill>
                  <a:srgbClr val="FFFFFF"/>
                </a:solidFill>
                <a:uFillTx/>
                <a:latin typeface="Calibri" pitchFamily="34"/>
              </a:rPr>
              <a:t>Электронная коммерция</a:t>
            </a:r>
            <a:endParaRPr lang="fr-FR" sz="1800" b="0" i="0" u="none" strike="noStrike" kern="1200" cap="none" spc="0" baseline="0">
              <a:solidFill>
                <a:srgbClr val="FFFFFF"/>
              </a:solidFill>
              <a:uFillTx/>
              <a:latin typeface="Aptos"/>
            </a:endParaRPr>
          </a:p>
        </p:txBody>
      </p:sp>
      <p:sp>
        <p:nvSpPr>
          <p:cNvPr id="12" name="Oval 13">
            <a:extLst>
              <a:ext uri="{FF2B5EF4-FFF2-40B4-BE49-F238E27FC236}">
                <a16:creationId xmlns:a16="http://schemas.microsoft.com/office/drawing/2014/main" id="{C1CF84BE-AE85-2180-B6AE-94E1A22ED020}"/>
              </a:ext>
            </a:extLst>
          </p:cNvPr>
          <p:cNvSpPr/>
          <p:nvPr/>
        </p:nvSpPr>
        <p:spPr>
          <a:xfrm>
            <a:off x="2017221" y="-56564"/>
            <a:ext cx="2112565" cy="800968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156082"/>
          </a:solidFill>
          <a:ln w="19046" cap="flat">
            <a:solidFill>
              <a:srgbClr val="042433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1800" b="0" i="0" u="none" strike="noStrike" kern="0" cap="none" spc="0" baseline="0">
                <a:solidFill>
                  <a:srgbClr val="FFFFFF"/>
                </a:solidFill>
                <a:uFillTx/>
                <a:latin typeface="Calibri" pitchFamily="34"/>
              </a:rPr>
              <a:t>Туроператор</a:t>
            </a:r>
            <a:endParaRPr lang="fr-FR" sz="1800" b="0" i="0" u="none" strike="noStrike" kern="1200" cap="none" spc="0" baseline="0">
              <a:solidFill>
                <a:srgbClr val="FFFFFF"/>
              </a:solidFill>
              <a:uFillTx/>
              <a:latin typeface="Aptos"/>
            </a:endParaRPr>
          </a:p>
        </p:txBody>
      </p:sp>
      <p:sp>
        <p:nvSpPr>
          <p:cNvPr id="13" name="Oval 14">
            <a:extLst>
              <a:ext uri="{FF2B5EF4-FFF2-40B4-BE49-F238E27FC236}">
                <a16:creationId xmlns:a16="http://schemas.microsoft.com/office/drawing/2014/main" id="{569A7DEF-0E94-5140-3970-0E218FA59302}"/>
              </a:ext>
            </a:extLst>
          </p:cNvPr>
          <p:cNvSpPr/>
          <p:nvPr/>
        </p:nvSpPr>
        <p:spPr>
          <a:xfrm>
            <a:off x="2360596" y="930868"/>
            <a:ext cx="1997360" cy="963320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A02B93"/>
          </a:solidFill>
          <a:ln w="19046" cap="flat">
            <a:solidFill>
              <a:srgbClr val="042433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1800" b="0" i="0" u="none" strike="noStrike" kern="0" cap="none" spc="0" baseline="0">
                <a:solidFill>
                  <a:srgbClr val="FFFFFF"/>
                </a:solidFill>
                <a:uFillTx/>
                <a:latin typeface="Calibri" pitchFamily="34"/>
              </a:rPr>
              <a:t>Мастер по облицовке/отделочник</a:t>
            </a:r>
            <a:endParaRPr lang="fr-FR" sz="1800" b="0" i="0" u="none" strike="noStrike" kern="1200" cap="none" spc="0" baseline="0">
              <a:solidFill>
                <a:srgbClr val="FFFFFF"/>
              </a:solidFill>
              <a:uFillTx/>
              <a:latin typeface="Aptos"/>
            </a:endParaRPr>
          </a:p>
        </p:txBody>
      </p:sp>
      <p:sp>
        <p:nvSpPr>
          <p:cNvPr id="14" name="Oval 15">
            <a:extLst>
              <a:ext uri="{FF2B5EF4-FFF2-40B4-BE49-F238E27FC236}">
                <a16:creationId xmlns:a16="http://schemas.microsoft.com/office/drawing/2014/main" id="{E6912577-4DAF-75A1-3D4B-7C9642879828}"/>
              </a:ext>
            </a:extLst>
          </p:cNvPr>
          <p:cNvSpPr/>
          <p:nvPr/>
        </p:nvSpPr>
        <p:spPr>
          <a:xfrm>
            <a:off x="2899425" y="1745168"/>
            <a:ext cx="3023180" cy="1421453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4DAF2F"/>
          </a:solidFill>
          <a:ln w="19046" cap="flat">
            <a:solidFill>
              <a:srgbClr val="042433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1800" b="0" i="0" u="none" strike="noStrike" kern="0" cap="none" spc="0" baseline="0">
                <a:solidFill>
                  <a:srgbClr val="FFFFFF"/>
                </a:solidFill>
                <a:uFillTx/>
                <a:latin typeface="Calibri" pitchFamily="34"/>
              </a:rPr>
              <a:t>Специалист по энергосбережению/ Экологический специалист</a:t>
            </a:r>
            <a:endParaRPr lang="fr-FR" sz="1800" b="0" i="0" u="none" strike="noStrike" kern="1200" cap="none" spc="0" baseline="0">
              <a:solidFill>
                <a:srgbClr val="FFFFFF"/>
              </a:solidFill>
              <a:uFillTx/>
              <a:latin typeface="Aptos"/>
            </a:endParaRPr>
          </a:p>
        </p:txBody>
      </p:sp>
      <p:sp>
        <p:nvSpPr>
          <p:cNvPr id="15" name="Oval 19">
            <a:extLst>
              <a:ext uri="{FF2B5EF4-FFF2-40B4-BE49-F238E27FC236}">
                <a16:creationId xmlns:a16="http://schemas.microsoft.com/office/drawing/2014/main" id="{7E7D7F0E-3852-0417-2A72-14AD4FD10E07}"/>
              </a:ext>
            </a:extLst>
          </p:cNvPr>
          <p:cNvSpPr/>
          <p:nvPr/>
        </p:nvSpPr>
        <p:spPr>
          <a:xfrm>
            <a:off x="3165341" y="3172090"/>
            <a:ext cx="1734132" cy="800968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171717"/>
          </a:solidFill>
          <a:ln w="19046" cap="flat">
            <a:solidFill>
              <a:srgbClr val="042433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2000" b="0" i="0" u="none" strike="noStrike" kern="0" cap="none" spc="0" baseline="0">
                <a:solidFill>
                  <a:srgbClr val="FFFFFF"/>
                </a:solidFill>
                <a:uFillTx/>
                <a:latin typeface="Calibri" pitchFamily="34"/>
              </a:rPr>
              <a:t>Логист</a:t>
            </a:r>
            <a:endParaRPr lang="fr-FR" sz="2000" b="0" i="0" u="none" strike="noStrike" kern="1200" cap="none" spc="0" baseline="0">
              <a:solidFill>
                <a:srgbClr val="FFFFFF"/>
              </a:solidFill>
              <a:uFillTx/>
              <a:latin typeface="Aptos"/>
            </a:endParaRPr>
          </a:p>
        </p:txBody>
      </p:sp>
      <p:sp>
        <p:nvSpPr>
          <p:cNvPr id="16" name="Oval 21">
            <a:extLst>
              <a:ext uri="{FF2B5EF4-FFF2-40B4-BE49-F238E27FC236}">
                <a16:creationId xmlns:a16="http://schemas.microsoft.com/office/drawing/2014/main" id="{6D0D4771-B85A-684E-C5D8-5624B9CB48FD}"/>
              </a:ext>
            </a:extLst>
          </p:cNvPr>
          <p:cNvSpPr/>
          <p:nvPr/>
        </p:nvSpPr>
        <p:spPr>
          <a:xfrm>
            <a:off x="3263976" y="4101630"/>
            <a:ext cx="3372555" cy="800968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CC3300"/>
          </a:solidFill>
          <a:ln w="19046" cap="flat">
            <a:solidFill>
              <a:srgbClr val="042433"/>
            </a:solidFill>
            <a:prstDash val="solid"/>
            <a:miter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lvl="0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kern="0" dirty="0">
                <a:solidFill>
                  <a:srgbClr val="FFFFFF"/>
                </a:solidFill>
                <a:latin typeface="Calibri" pitchFamily="34"/>
              </a:rPr>
              <a:t>Модельер/Модельер-конструктор</a:t>
            </a:r>
            <a:endParaRPr lang="fr-FR" sz="1800" b="0" i="0" u="none" strike="noStrike" kern="1200" cap="none" spc="0" baseline="0" dirty="0">
              <a:solidFill>
                <a:srgbClr val="FFFFFF"/>
              </a:solidFill>
              <a:uFillTx/>
              <a:latin typeface="Aptos"/>
            </a:endParaRPr>
          </a:p>
        </p:txBody>
      </p:sp>
      <p:sp>
        <p:nvSpPr>
          <p:cNvPr id="17" name="Oval 22">
            <a:extLst>
              <a:ext uri="{FF2B5EF4-FFF2-40B4-BE49-F238E27FC236}">
                <a16:creationId xmlns:a16="http://schemas.microsoft.com/office/drawing/2014/main" id="{FA220DA3-3008-C93E-9494-3492428A2C14}"/>
              </a:ext>
            </a:extLst>
          </p:cNvPr>
          <p:cNvSpPr/>
          <p:nvPr/>
        </p:nvSpPr>
        <p:spPr>
          <a:xfrm>
            <a:off x="2899424" y="4755847"/>
            <a:ext cx="2533070" cy="997528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CC3300"/>
          </a:solidFill>
          <a:ln w="19046" cap="flat">
            <a:solidFill>
              <a:srgbClr val="042433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1800" b="0" i="0" u="none" strike="noStrike" kern="0" cap="none" spc="0" baseline="0" dirty="0">
                <a:solidFill>
                  <a:srgbClr val="FFFFFF"/>
                </a:solidFill>
                <a:uFillTx/>
                <a:latin typeface="Calibri" pitchFamily="34"/>
              </a:rPr>
              <a:t>Технолог/</a:t>
            </a:r>
            <a:endParaRPr lang="en-GB" sz="1800" b="0" i="0" u="none" strike="noStrike" kern="0" cap="none" spc="0" baseline="0" dirty="0">
              <a:solidFill>
                <a:srgbClr val="FFFFFF"/>
              </a:solidFill>
              <a:uFillTx/>
              <a:latin typeface="Calibri" pitchFamily="34"/>
            </a:endParaRP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1800" b="0" i="0" u="none" strike="noStrike" kern="0" cap="none" spc="0" baseline="0" dirty="0">
                <a:solidFill>
                  <a:srgbClr val="FFFFFF"/>
                </a:solidFill>
                <a:uFillTx/>
                <a:latin typeface="Calibri" pitchFamily="34"/>
              </a:rPr>
              <a:t>Проектировщик новых тканей</a:t>
            </a:r>
            <a:endParaRPr lang="fr-FR" sz="1800" b="0" i="0" u="none" strike="noStrike" kern="1200" cap="none" spc="0" baseline="0" dirty="0">
              <a:solidFill>
                <a:srgbClr val="FFFFFF"/>
              </a:solidFill>
              <a:uFillTx/>
              <a:latin typeface="Aptos"/>
            </a:endParaRPr>
          </a:p>
        </p:txBody>
      </p:sp>
      <p:sp>
        <p:nvSpPr>
          <p:cNvPr id="18" name="Oval 23">
            <a:extLst>
              <a:ext uri="{FF2B5EF4-FFF2-40B4-BE49-F238E27FC236}">
                <a16:creationId xmlns:a16="http://schemas.microsoft.com/office/drawing/2014/main" id="{2CE2144F-9375-2D2E-12EA-9F52B36DE0ED}"/>
              </a:ext>
            </a:extLst>
          </p:cNvPr>
          <p:cNvSpPr/>
          <p:nvPr/>
        </p:nvSpPr>
        <p:spPr>
          <a:xfrm>
            <a:off x="1501801" y="5667620"/>
            <a:ext cx="3807890" cy="1355076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156082"/>
          </a:solidFill>
          <a:ln w="19046" cap="flat">
            <a:solidFill>
              <a:srgbClr val="042433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b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1800" b="0" i="0" u="none" strike="noStrike" kern="0" cap="none" spc="0" baseline="0" dirty="0">
                <a:solidFill>
                  <a:srgbClr val="FFFFFF"/>
                </a:solidFill>
                <a:uFillTx/>
                <a:latin typeface="Calibri" pitchFamily="34"/>
              </a:rPr>
              <a:t>Специалист по электронной коммерции</a:t>
            </a:r>
            <a:r>
              <a:rPr lang="en-GB" sz="1800" b="0" i="0" u="none" strike="noStrike" kern="0" cap="none" spc="0" baseline="0" dirty="0">
                <a:solidFill>
                  <a:srgbClr val="FFFFFF"/>
                </a:solidFill>
                <a:uFillTx/>
                <a:latin typeface="Calibri" pitchFamily="34"/>
              </a:rPr>
              <a:t>/</a:t>
            </a:r>
            <a:r>
              <a:rPr lang="ru-RU" sz="1800" b="0" i="0" u="none" strike="noStrike" kern="0" cap="none" spc="0" baseline="0" dirty="0">
                <a:solidFill>
                  <a:srgbClr val="FFFFFF"/>
                </a:solidFill>
                <a:uFillTx/>
                <a:latin typeface="Calibri" pitchFamily="34"/>
              </a:rPr>
              <a:t> Специалист по маркетплейсам/ </a:t>
            </a:r>
            <a:endParaRPr lang="en-GB" sz="1800" b="0" i="0" u="none" strike="noStrike" kern="1200" cap="none" spc="0" baseline="0" dirty="0">
              <a:solidFill>
                <a:srgbClr val="FFFFFF"/>
              </a:solidFill>
              <a:uFillTx/>
              <a:latin typeface="Aptos"/>
            </a:endParaRPr>
          </a:p>
        </p:txBody>
      </p:sp>
      <p:sp>
        <p:nvSpPr>
          <p:cNvPr id="19" name="Oval 24">
            <a:extLst>
              <a:ext uri="{FF2B5EF4-FFF2-40B4-BE49-F238E27FC236}">
                <a16:creationId xmlns:a16="http://schemas.microsoft.com/office/drawing/2014/main" id="{90829292-631A-733D-40A7-7906524DE2A3}"/>
              </a:ext>
            </a:extLst>
          </p:cNvPr>
          <p:cNvSpPr/>
          <p:nvPr/>
        </p:nvSpPr>
        <p:spPr>
          <a:xfrm>
            <a:off x="2725246" y="3851309"/>
            <a:ext cx="862827" cy="766596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1E802C"/>
          </a:solidFill>
          <a:ln w="19046" cap="flat">
            <a:solidFill>
              <a:srgbClr val="042433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fr-FR" sz="1800" b="0" i="0" u="none" strike="noStrike" kern="1200" cap="none" spc="0" baseline="0">
                <a:solidFill>
                  <a:srgbClr val="FFFFFF"/>
                </a:solidFill>
                <a:uFillTx/>
                <a:latin typeface="Aptos"/>
              </a:rPr>
              <a:t>?</a:t>
            </a:r>
          </a:p>
        </p:txBody>
      </p:sp>
      <p:pic>
        <p:nvPicPr>
          <p:cNvPr id="20" name="Picture 7">
            <a:extLst>
              <a:ext uri="{FF2B5EF4-FFF2-40B4-BE49-F238E27FC236}">
                <a16:creationId xmlns:a16="http://schemas.microsoft.com/office/drawing/2014/main" id="{939351BE-3375-A65B-AC1D-C195E7FE91F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6420514" y="116247"/>
            <a:ext cx="3354576" cy="2194971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21" name="TextBox 37">
            <a:extLst>
              <a:ext uri="{FF2B5EF4-FFF2-40B4-BE49-F238E27FC236}">
                <a16:creationId xmlns:a16="http://schemas.microsoft.com/office/drawing/2014/main" id="{575116E6-B8C5-F908-DF9B-476988BF4175}"/>
              </a:ext>
            </a:extLst>
          </p:cNvPr>
          <p:cNvSpPr txBox="1"/>
          <p:nvPr/>
        </p:nvSpPr>
        <p:spPr>
          <a:xfrm>
            <a:off x="9789676" y="470541"/>
            <a:ext cx="2217337" cy="156965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2400" b="0" i="0" u="none" strike="noStrike" kern="1200" cap="none" spc="0" baseline="0">
                <a:solidFill>
                  <a:srgbClr val="000000"/>
                </a:solidFill>
                <a:uFillTx/>
                <a:latin typeface="Aptos"/>
              </a:rPr>
              <a:t>что можно сказать о необходимых компетенциях</a:t>
            </a:r>
            <a:endParaRPr lang="fr-FR" sz="2400" b="0" i="0" u="none" strike="noStrike" kern="1200" cap="none" spc="0" baseline="0">
              <a:solidFill>
                <a:srgbClr val="000000"/>
              </a:solidFill>
              <a:uFillTx/>
              <a:latin typeface="Aptos"/>
            </a:endParaRPr>
          </a:p>
        </p:txBody>
      </p:sp>
      <p:sp>
        <p:nvSpPr>
          <p:cNvPr id="22" name="Oval 38">
            <a:extLst>
              <a:ext uri="{FF2B5EF4-FFF2-40B4-BE49-F238E27FC236}">
                <a16:creationId xmlns:a16="http://schemas.microsoft.com/office/drawing/2014/main" id="{901B28B0-622F-69DA-801C-CF632DAEEBD1}"/>
              </a:ext>
            </a:extLst>
          </p:cNvPr>
          <p:cNvSpPr/>
          <p:nvPr/>
        </p:nvSpPr>
        <p:spPr>
          <a:xfrm rot="1303215">
            <a:off x="7239715" y="3070309"/>
            <a:ext cx="3074852" cy="2768309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solidFill>
            <a:srgbClr val="FFFFFF"/>
          </a:solidFill>
          <a:ln w="19046" cap="flat">
            <a:solidFill>
              <a:srgbClr val="FFFFFF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2800" b="0" i="0" u="none" strike="noStrike" kern="1200" cap="none" spc="0" baseline="0">
                <a:solidFill>
                  <a:srgbClr val="FF0000"/>
                </a:solidFill>
                <a:uFillTx/>
                <a:latin typeface="Aptos"/>
              </a:rPr>
              <a:t>как повысить результативность наших пилотов</a:t>
            </a:r>
            <a:endParaRPr lang="fr-FR" sz="2800" b="0" i="0" u="none" strike="noStrike" kern="1200" cap="none" spc="0" baseline="0">
              <a:solidFill>
                <a:srgbClr val="FF0000"/>
              </a:solidFill>
              <a:uFillTx/>
              <a:latin typeface="Apto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1" grpId="0"/>
      <p:bldP spid="2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F220950-8B90-61BD-9DAF-D882CC0A7EA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" y="2515316"/>
            <a:ext cx="3840480" cy="4342683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8F716D7-B5F6-4D95-5A49-47DACDE8C2B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39291" y="956898"/>
            <a:ext cx="9144744" cy="5548405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endParaRPr lang="ru-RU" sz="2000" b="0" dirty="0"/>
          </a:p>
          <a:p>
            <a:pPr marL="342900" lvl="0" indent="-342900" rtl="0">
              <a:lnSpc>
                <a:spcPct val="107000"/>
              </a:lnSpc>
              <a:buFont typeface="+mj-lt"/>
              <a:buAutoNum type="arabicPeriod"/>
            </a:pPr>
            <a:r>
              <a:rPr lang="ru-RU" sz="20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Какие основные области умений/навыков и компетенций характеризуют данные профессии ? Какие инновационные элементы характеризуют работу по данным профессиям?</a:t>
            </a:r>
            <a:endParaRPr lang="en-GB" sz="20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ru-RU" sz="20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Каков должен быть фокус пилотной разработки: стандарт для формального профессионального образования и/или для образования взрослых/непрерывного профессионального обучения?</a:t>
            </a:r>
            <a:endParaRPr lang="en-GB" sz="20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ru-RU" sz="20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Каков должен быть принцип пилотной разработки: профессия или блоки (наборы) связанных между собой компетенций ?</a:t>
            </a:r>
            <a:endParaRPr lang="en-GB" sz="20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ru-RU" sz="20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По какому пути пойти для пилотной разработки: стандарт для работников больших предприятий (узкий диапазон компетенций) или мелких предприятий (широкий диапазон компетенций и многофункциональность?)</a:t>
            </a:r>
            <a:endParaRPr lang="en-GB" sz="20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ru-RU" sz="2000" dirty="0">
                <a:solidFill>
                  <a:srgbClr val="00B05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Работа в общем файле в </a:t>
            </a:r>
            <a:r>
              <a:rPr lang="en-GB" sz="2000" dirty="0">
                <a:solidFill>
                  <a:srgbClr val="00B05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google drive </a:t>
            </a:r>
            <a:r>
              <a:rPr lang="en-GB" sz="20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  <a:hlinkClick r:id="rId3"/>
              </a:rPr>
              <a:t>https://docs.google.com/document/d/1DdRNa_HT0bh3zGCWur5rniROjoi4KfrC/edit?usp=drive_link&amp;ouid=101633982089023006280&amp;rtpof=true&amp;sd=true</a:t>
            </a:r>
            <a:r>
              <a:rPr lang="en-GB" sz="20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</a:p>
          <a:p>
            <a:pPr marL="0" lv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ru-RU" sz="2000" dirty="0">
                <a:solidFill>
                  <a:srgbClr val="00B05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И обсуждение</a:t>
            </a:r>
            <a:endParaRPr lang="en-GB" sz="2000" dirty="0">
              <a:solidFill>
                <a:srgbClr val="00B050"/>
              </a:solidFill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A37E80B4-8CAF-0F9A-2E52-EE338C877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8869" y="-60479"/>
            <a:ext cx="10021901" cy="1262485"/>
          </a:xfrm>
        </p:spPr>
        <p:txBody>
          <a:bodyPr>
            <a:normAutofit/>
          </a:bodyPr>
          <a:lstStyle/>
          <a:p>
            <a:r>
              <a:rPr lang="ru-RU" sz="2600" b="1" dirty="0"/>
              <a:t>Информация об умениях/навыках и компетенциях по выявленным профессиям </a:t>
            </a:r>
            <a:endParaRPr lang="en-GB" sz="2600" b="1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1D2DE0E-3F1A-2D46-CA1D-0AFD7F605A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2"/>
            <a:ext cx="2795451" cy="5904410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31BD94B-FB15-0FF2-B2A2-E4274C4C5462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966" y="3074468"/>
            <a:ext cx="2989146" cy="1689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432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75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build="p" animBg="1"/>
      <p:bldP spid="11" grpId="0"/>
      <p:bldP spid="13" grpId="0" build="p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F220950-8B90-61BD-9DAF-D882CC0A7EA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" y="2515316"/>
            <a:ext cx="3840480" cy="4342683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8F716D7-B5F6-4D95-5A49-47DACDE8C2B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256" y="861103"/>
            <a:ext cx="9144744" cy="5548405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endParaRPr lang="ru-RU" sz="2000" b="0" dirty="0"/>
          </a:p>
          <a:p>
            <a:pPr marL="342900" lvl="0" indent="-342900" rtl="0">
              <a:lnSpc>
                <a:spcPct val="107000"/>
              </a:lnSpc>
              <a:buFont typeface="+mj-lt"/>
              <a:buAutoNum type="arabicPeriod"/>
            </a:pPr>
            <a:r>
              <a:rPr lang="ru-RU" sz="20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Данные о текущей ситуации и будущей перспективе по образованию и обучению по данной профессии: </a:t>
            </a:r>
            <a:endParaRPr lang="en-GB" sz="20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07000"/>
              </a:lnSpc>
              <a:buFont typeface="+mj-lt"/>
              <a:buAutoNum type="alphaLcParenR"/>
            </a:pPr>
            <a:r>
              <a:rPr lang="ru-RU" sz="18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где и по каким программам можно учиться, сколько обучающихся?</a:t>
            </a:r>
            <a:endParaRPr lang="en-GB" sz="18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800100" lvl="1" indent="-342900">
              <a:lnSpc>
                <a:spcPct val="107000"/>
              </a:lnSpc>
              <a:buFont typeface="+mj-lt"/>
              <a:buAutoNum type="alphaLcParenR"/>
            </a:pPr>
            <a:r>
              <a:rPr lang="ru-RU" sz="18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претерпевают ли изменения (и какие) программы обучения по данным профессиям ?</a:t>
            </a:r>
            <a:endParaRPr lang="en-GB" sz="18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ru-RU" sz="20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Данные о текущей ситуации и будущей перспективе занятости по данной профессии: число занятых, вакансий, </a:t>
            </a:r>
            <a:endParaRPr lang="en-GB" sz="20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ru-RU" sz="20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Информация о государственных отраслевых стратегиях, затрагивающих данную профессию,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ru-RU" sz="20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Какие организации, игроки должны участвовать в пилотной разработке по данной профессии?</a:t>
            </a:r>
          </a:p>
          <a:p>
            <a:pPr marL="0" indent="0">
              <a:buNone/>
            </a:pPr>
            <a:r>
              <a:rPr lang="ru-RU" sz="2000" dirty="0">
                <a:solidFill>
                  <a:srgbClr val="00B05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Работа в общем файле в </a:t>
            </a:r>
            <a:r>
              <a:rPr lang="en-GB" sz="2000" dirty="0">
                <a:solidFill>
                  <a:srgbClr val="00B05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google drive </a:t>
            </a:r>
            <a:r>
              <a:rPr lang="en-GB" sz="20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  <a:hlinkClick r:id="rId2"/>
              </a:rPr>
              <a:t>https://docs.google.com/document/d/1DdRNa_HT0bh3zGCWur5rniROjoi4KfrC/edit?usp=drive_link&amp;ouid=101633982089023006280&amp;rtpof=true&amp;sd=true</a:t>
            </a:r>
            <a:r>
              <a:rPr lang="en-GB" sz="20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</a:p>
          <a:p>
            <a:pPr marL="0" lv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ru-RU" sz="2000" dirty="0">
                <a:solidFill>
                  <a:srgbClr val="00B05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И обсуждение</a:t>
            </a:r>
            <a:endParaRPr lang="en-GB" sz="2000" dirty="0">
              <a:solidFill>
                <a:srgbClr val="00B050"/>
              </a:solidFill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A37E80B4-8CAF-0F9A-2E52-EE338C877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8869" y="-60479"/>
            <a:ext cx="10021901" cy="1262485"/>
          </a:xfrm>
        </p:spPr>
        <p:txBody>
          <a:bodyPr>
            <a:normAutofit/>
          </a:bodyPr>
          <a:lstStyle/>
          <a:p>
            <a:r>
              <a:rPr lang="ru-RU" sz="2600" b="1" dirty="0"/>
              <a:t>Факторы влияния на окончательный выбор профессий для межстранового пилота</a:t>
            </a:r>
            <a:endParaRPr lang="en-GB" sz="2600" b="1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1D2DE0E-3F1A-2D46-CA1D-0AFD7F605A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2"/>
            <a:ext cx="2795451" cy="5904410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31BD94B-FB15-0FF2-B2A2-E4274C4C546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7965" y="3074467"/>
            <a:ext cx="3189489" cy="1802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620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75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build="p" animBg="1"/>
      <p:bldP spid="11" grpId="0"/>
      <p:bldP spid="13" grpId="0" build="p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F220950-8B90-61BD-9DAF-D882CC0A7EA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" y="2515316"/>
            <a:ext cx="3840480" cy="4342683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8F716D7-B5F6-4D95-5A49-47DACDE8C2B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39291" y="956898"/>
            <a:ext cx="9144744" cy="5739993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endParaRPr lang="ru-RU" sz="20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/>
              <a:t>Завершение работы над </a:t>
            </a:r>
            <a:r>
              <a:rPr lang="ru-RU" sz="2000" b="1" dirty="0"/>
              <a:t>глоссарием и картированием национальных систем квалификаций</a:t>
            </a:r>
            <a:r>
              <a:rPr lang="en-GB" sz="2000" b="1" dirty="0"/>
              <a:t> </a:t>
            </a:r>
            <a:r>
              <a:rPr lang="ru-RU" sz="2000" b="1" dirty="0"/>
              <a:t>стран ЦА</a:t>
            </a:r>
            <a:r>
              <a:rPr lang="ru-RU" sz="2000" dirty="0"/>
              <a:t>, рассылка соответствующих материалов всем партнерам </a:t>
            </a:r>
            <a:r>
              <a:rPr lang="en-GB" sz="2000" dirty="0"/>
              <a:t>DARYA</a:t>
            </a:r>
            <a:r>
              <a:rPr lang="ru-RU" sz="2000" dirty="0"/>
              <a:t>,</a:t>
            </a:r>
            <a:r>
              <a:rPr lang="en-GB" sz="2000" dirty="0"/>
              <a:t> </a:t>
            </a:r>
            <a:endParaRPr lang="ru-RU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/>
              <a:t>Доработка </a:t>
            </a:r>
            <a:r>
              <a:rPr lang="ru-RU" sz="2000" b="1" dirty="0"/>
              <a:t>отчета и сценариев сотрудничества в ЦА</a:t>
            </a:r>
            <a:r>
              <a:rPr lang="ru-RU" sz="2000" dirty="0"/>
              <a:t>, рассылка всем партнерам </a:t>
            </a:r>
            <a:r>
              <a:rPr lang="en-GB" sz="2000" dirty="0"/>
              <a:t>DARYA</a:t>
            </a:r>
            <a:r>
              <a:rPr lang="ru-RU" sz="2000" dirty="0"/>
              <a:t>. Проработка, наращивание потенциала, обмен опытом по избранным сценариям. Следующая региональная встреча – в начале осени в одной из стран ЦА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/>
              <a:t>Подготовка </a:t>
            </a:r>
            <a:r>
              <a:rPr lang="ru-RU" sz="2000" b="1" dirty="0"/>
              <a:t>пилота по </a:t>
            </a:r>
            <a:r>
              <a:rPr lang="ru-RU" sz="2000" b="1" dirty="0" err="1"/>
              <a:t>межстрановым</a:t>
            </a:r>
            <a:r>
              <a:rPr lang="ru-RU" sz="2000" b="1" dirty="0"/>
              <a:t> квалификациям </a:t>
            </a:r>
            <a:r>
              <a:rPr lang="ru-RU" sz="2000" dirty="0"/>
              <a:t>(май – сентябрь 2024 г.): 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ru-RU" dirty="0"/>
              <a:t>Дополнения к сегодняшней дискуссии до 16 апреля (открытый файл) 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ru-RU" dirty="0"/>
              <a:t>Окончательный выбор 5 профессий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ru-RU" dirty="0"/>
              <a:t>Формирование партнерств для работы над пилотом 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ru-RU" dirty="0"/>
              <a:t>Разработка методологии. Следующая встреча – 4 </a:t>
            </a:r>
            <a:r>
              <a:rPr lang="en-GB" dirty="0"/>
              <a:t>&amp; 5 </a:t>
            </a:r>
            <a:r>
              <a:rPr lang="ru-RU" dirty="0"/>
              <a:t>июня для ознакомления с существующими методологиями (</a:t>
            </a:r>
            <a:r>
              <a:rPr lang="ru-RU" dirty="0">
                <a:solidFill>
                  <a:srgbClr val="333333"/>
                </a:solidFill>
                <a:latin typeface="Helvetica Neue"/>
              </a:rPr>
              <a:t> </a:t>
            </a:r>
            <a:r>
              <a:rPr lang="ru-RU" sz="210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Q4M</a:t>
            </a:r>
            <a:r>
              <a:rPr lang="ru-RU" sz="2100" dirty="0"/>
              <a:t>, и </a:t>
            </a:r>
            <a:r>
              <a:rPr lang="ru-RU" sz="2100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методологии региональных стандартов квалификаций</a:t>
            </a:r>
            <a:r>
              <a:rPr lang="ru-RU" sz="2100" dirty="0">
                <a:solidFill>
                  <a:srgbClr val="0070C0"/>
                </a:solidFill>
              </a:rPr>
              <a:t> </a:t>
            </a:r>
            <a:r>
              <a:rPr lang="ru-RU" sz="2100" dirty="0"/>
              <a:t>в Юго-Восточной Европе, </a:t>
            </a:r>
            <a:r>
              <a:rPr lang="ru-RU" sz="1800" dirty="0">
                <a:latin typeface="Arial" panose="020B0604020202020204"/>
                <a:ea typeface="+mn-ea"/>
                <a:cs typeface="Arial" panose="020B0604020202020204" pitchFamily="34" charset="0"/>
              </a:rPr>
              <a:t>разработка и использование профессиональных стандартов в ЦА и других странах (Франция…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sz="2100" dirty="0"/>
              <a:t>Апрель - </a:t>
            </a:r>
            <a:r>
              <a:rPr lang="ru-RU" sz="2100" b="1" dirty="0"/>
              <a:t>Электронные бейджи-сертификаты </a:t>
            </a:r>
            <a:r>
              <a:rPr lang="ru-RU" sz="2100" dirty="0"/>
              <a:t>для участников ознакомительной фазы работы в рамках Модуля 2 </a:t>
            </a:r>
            <a:r>
              <a:rPr lang="en-GB" sz="2100" dirty="0"/>
              <a:t>DARYA</a:t>
            </a:r>
            <a:endParaRPr lang="ru-RU" sz="2100" dirty="0"/>
          </a:p>
          <a:p>
            <a:pPr lvl="1">
              <a:buFont typeface="Courier New" panose="02070309020205020404" pitchFamily="49" charset="0"/>
              <a:buChar char="o"/>
            </a:pPr>
            <a:endParaRPr lang="ru-RU" sz="2200" dirty="0"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A37E80B4-8CAF-0F9A-2E52-EE338C877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2844" y="-60479"/>
            <a:ext cx="6197926" cy="1262485"/>
          </a:xfrm>
        </p:spPr>
        <p:txBody>
          <a:bodyPr>
            <a:normAutofit/>
          </a:bodyPr>
          <a:lstStyle/>
          <a:p>
            <a:r>
              <a:rPr lang="ru-RU" sz="2600" b="1" dirty="0"/>
              <a:t>Последующие шаги </a:t>
            </a:r>
            <a:endParaRPr lang="en-GB" sz="2600" b="1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1D2DE0E-3F1A-2D46-CA1D-0AFD7F605A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2"/>
            <a:ext cx="2795451" cy="5904410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31BD94B-FB15-0FF2-B2A2-E4274C4C5462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965" y="3074467"/>
            <a:ext cx="3620999" cy="2046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915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75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build="p" animBg="1"/>
      <p:bldP spid="11" grpId="0"/>
      <p:bldP spid="13" grpId="0" build="p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ETF DARYA Template">
  <a:themeElements>
    <a:clrScheme name="Custom 1">
      <a:dk1>
        <a:srgbClr val="000000"/>
      </a:dk1>
      <a:lt1>
        <a:srgbClr val="FFFFFF"/>
      </a:lt1>
      <a:dk2>
        <a:srgbClr val="0092BB"/>
      </a:dk2>
      <a:lt2>
        <a:srgbClr val="D6DCE4"/>
      </a:lt2>
      <a:accent1>
        <a:srgbClr val="009CDE"/>
      </a:accent1>
      <a:accent2>
        <a:srgbClr val="38B6AB"/>
      </a:accent2>
      <a:accent3>
        <a:srgbClr val="CBD300"/>
      </a:accent3>
      <a:accent4>
        <a:srgbClr val="FFDC00"/>
      </a:accent4>
      <a:accent5>
        <a:srgbClr val="E9473D"/>
      </a:accent5>
      <a:accent6>
        <a:srgbClr val="DC006B"/>
      </a:accent6>
      <a:hlink>
        <a:srgbClr val="0092BB"/>
      </a:hlink>
      <a:folHlink>
        <a:srgbClr val="27257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ETF DARYA Template">
  <a:themeElements>
    <a:clrScheme name="Custom 1">
      <a:dk1>
        <a:srgbClr val="000000"/>
      </a:dk1>
      <a:lt1>
        <a:srgbClr val="FFFFFF"/>
      </a:lt1>
      <a:dk2>
        <a:srgbClr val="0092BB"/>
      </a:dk2>
      <a:lt2>
        <a:srgbClr val="D6DCE4"/>
      </a:lt2>
      <a:accent1>
        <a:srgbClr val="009CDE"/>
      </a:accent1>
      <a:accent2>
        <a:srgbClr val="38B6AB"/>
      </a:accent2>
      <a:accent3>
        <a:srgbClr val="CBD300"/>
      </a:accent3>
      <a:accent4>
        <a:srgbClr val="FFDC00"/>
      </a:accent4>
      <a:accent5>
        <a:srgbClr val="E9473D"/>
      </a:accent5>
      <a:accent6>
        <a:srgbClr val="DC006B"/>
      </a:accent6>
      <a:hlink>
        <a:srgbClr val="0092BB"/>
      </a:hlink>
      <a:folHlink>
        <a:srgbClr val="27257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D2F5C2D7F38543A7DECC0B91FBF8EC" ma:contentTypeVersion="18" ma:contentTypeDescription="Create a new document." ma:contentTypeScope="" ma:versionID="5128e4c802ecaff48516fdbf07e3c501">
  <xsd:schema xmlns:xsd="http://www.w3.org/2001/XMLSchema" xmlns:xs="http://www.w3.org/2001/XMLSchema" xmlns:p="http://schemas.microsoft.com/office/2006/metadata/properties" xmlns:ns2="f3ae32bb-a161-4da2-a912-3fd4ef5c7b4c" xmlns:ns3="5bf4adf3-0360-4285-b414-8a1933b4cf43" targetNamespace="http://schemas.microsoft.com/office/2006/metadata/properties" ma:root="true" ma:fieldsID="9c4edededd03e32124016cfa9f0fc213" ns2:_="" ns3:_="">
    <xsd:import namespace="f3ae32bb-a161-4da2-a912-3fd4ef5c7b4c"/>
    <xsd:import namespace="5bf4adf3-0360-4285-b414-8a1933b4cf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ae32bb-a161-4da2-a912-3fd4ef5c7b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010ffe1f-c839-4a66-9ae8-9a2945e4919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f4adf3-0360-4285-b414-8a1933b4cf43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89058e7-3c1f-447e-868b-29c765caa27c}" ma:internalName="TaxCatchAll" ma:showField="CatchAllData" ma:web="5bf4adf3-0360-4285-b414-8a1933b4cf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bf4adf3-0360-4285-b414-8a1933b4cf43" xsi:nil="true"/>
    <lcf76f155ced4ddcb4097134ff3c332f xmlns="f3ae32bb-a161-4da2-a912-3fd4ef5c7b4c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CF46EB23-81B9-4B8D-9843-6680CAB2AA5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3ae32bb-a161-4da2-a912-3fd4ef5c7b4c"/>
    <ds:schemaRef ds:uri="5bf4adf3-0360-4285-b414-8a1933b4cf4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70635E9-2B0E-4EB2-8B7F-4C99EA43376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08D6493-0DEE-4E6F-AFC2-6F7B64F69CA9}">
  <ds:schemaRefs>
    <ds:schemaRef ds:uri="http://schemas.microsoft.com/office/2006/metadata/properties"/>
    <ds:schemaRef ds:uri="http://schemas.microsoft.com/office/infopath/2007/PartnerControls"/>
    <ds:schemaRef ds:uri="5bf4adf3-0360-4285-b414-8a1933b4cf43"/>
    <ds:schemaRef ds:uri="f3ae32bb-a161-4da2-a912-3fd4ef5c7b4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48</Words>
  <Application>Microsoft Office PowerPoint</Application>
  <PresentationFormat>Widescreen</PresentationFormat>
  <Paragraphs>61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7" baseType="lpstr">
      <vt:lpstr>Aptos</vt:lpstr>
      <vt:lpstr>Aptos Display</vt:lpstr>
      <vt:lpstr>Arial</vt:lpstr>
      <vt:lpstr>Calibri</vt:lpstr>
      <vt:lpstr>Courier New</vt:lpstr>
      <vt:lpstr>Helvetica Neue</vt:lpstr>
      <vt:lpstr>Wingdings</vt:lpstr>
      <vt:lpstr>Office Theme</vt:lpstr>
      <vt:lpstr>ETF DARYA Template</vt:lpstr>
      <vt:lpstr>1_ETF DARYA Template</vt:lpstr>
      <vt:lpstr>think-cell Slide</vt:lpstr>
      <vt:lpstr>Совместная работа над квалификациями в Центральной Азии – план встречи 3 &amp; 4 апреля</vt:lpstr>
      <vt:lpstr>Mежстрановые квалификации: подготовка к пилоту</vt:lpstr>
      <vt:lpstr>PowerPoint Presentation</vt:lpstr>
      <vt:lpstr>Информация об умениях/навыках и компетенциях по выявленным профессиям </vt:lpstr>
      <vt:lpstr>Факторы влияния на окончательный выбор профессий для межстранового пилота</vt:lpstr>
      <vt:lpstr>Последующие шаги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jen Deij (ETF)</dc:creator>
  <cp:lastModifiedBy>Nadezda Solodjankina (ETF)</cp:lastModifiedBy>
  <cp:revision>10</cp:revision>
  <dcterms:created xsi:type="dcterms:W3CDTF">2024-03-25T12:51:57Z</dcterms:created>
  <dcterms:modified xsi:type="dcterms:W3CDTF">2024-04-04T09:45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9D2F5C2D7F38543A7DECC0B91FBF8EC</vt:lpwstr>
  </property>
  <property fmtid="{D5CDD505-2E9C-101B-9397-08002B2CF9AE}" pid="3" name="MediaServiceImageTags">
    <vt:lpwstr/>
  </property>
</Properties>
</file>